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heme/theme3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256" r:id="rId2"/>
    <p:sldId id="273" r:id="rId3"/>
    <p:sldId id="258" r:id="rId4"/>
    <p:sldId id="259" r:id="rId5"/>
    <p:sldId id="260" r:id="rId6"/>
    <p:sldId id="261" r:id="rId7"/>
    <p:sldId id="274" r:id="rId8"/>
    <p:sldId id="262" r:id="rId9"/>
    <p:sldId id="276" r:id="rId10"/>
    <p:sldId id="270" r:id="rId11"/>
    <p:sldId id="277" r:id="rId12"/>
    <p:sldId id="278" r:id="rId13"/>
    <p:sldId id="279" r:id="rId14"/>
    <p:sldId id="280" r:id="rId15"/>
    <p:sldId id="281" r:id="rId16"/>
    <p:sldId id="282" r:id="rId17"/>
    <p:sldId id="283" r:id="rId18"/>
    <p:sldId id="284" r:id="rId19"/>
    <p:sldId id="285" r:id="rId20"/>
    <p:sldId id="287" r:id="rId21"/>
    <p:sldId id="286" r:id="rId22"/>
    <p:sldId id="288" r:id="rId23"/>
    <p:sldId id="289" r:id="rId24"/>
    <p:sldId id="291" r:id="rId25"/>
    <p:sldId id="290" r:id="rId26"/>
    <p:sldId id="292" r:id="rId27"/>
    <p:sldId id="293" r:id="rId28"/>
    <p:sldId id="294" r:id="rId29"/>
    <p:sldId id="295" r:id="rId30"/>
    <p:sldId id="271" r:id="rId31"/>
  </p:sldIdLst>
  <p:sldSz cx="12192000" cy="6858000"/>
  <p:notesSz cx="6858000" cy="9144000"/>
  <p:embeddedFontLst>
    <p:embeddedFont>
      <p:font typeface="Source Sans Pro" panose="020B0503030403020204" pitchFamily="34" charset="0"/>
      <p:regular r:id="rId34"/>
      <p:bold r:id="rId35"/>
      <p:italic r:id="rId36"/>
      <p:boldItalic r:id="rId37"/>
    </p:embeddedFont>
    <p:embeddedFont>
      <p:font typeface="Source Sans Pro Light" panose="020B0403030403020204" pitchFamily="34" charset="0"/>
      <p:regular r:id="rId38"/>
      <p:italic r:id="rId39"/>
    </p:embeddedFont>
    <p:embeddedFont>
      <p:font typeface="Source Sans Pro Semibold" panose="020B0603030403020204" pitchFamily="34" charset="0"/>
      <p:regular r:id="rId40"/>
      <p:bold r:id="rId41"/>
      <p:italic r:id="rId42"/>
      <p:boldItalic r:id="rId43"/>
    </p:embeddedFont>
  </p:embeddedFontLst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3" clrIdx="0">
    <p:extLst>
      <p:ext uri="{19B8F6BF-5375-455C-9EA6-DF929625EA0E}">
        <p15:presenceInfo xmlns:p15="http://schemas.microsoft.com/office/powerpoint/2012/main" userId="c022c9616c43c97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631" autoAdjust="0"/>
    <p:restoredTop sz="92386" autoAdjust="0"/>
  </p:normalViewPr>
  <p:slideViewPr>
    <p:cSldViewPr snapToGrid="0" showGuides="1">
      <p:cViewPr varScale="1">
        <p:scale>
          <a:sx n="89" d="100"/>
          <a:sy n="89" d="100"/>
        </p:scale>
        <p:origin x="120" y="67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94" d="100"/>
          <a:sy n="94" d="100"/>
        </p:scale>
        <p:origin x="360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6.fntdata"/><Relationship Id="rId21" Type="http://schemas.openxmlformats.org/officeDocument/2006/relationships/slide" Target="slides/slide20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3.fntdata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4E1A99-7D7A-4159-9546-A7EB673973C2}" type="doc">
      <dgm:prSet loTypeId="urn:microsoft.com/office/officeart/2018/2/layout/IconLabel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7772A8BD-275A-4497-BD6A-5D1E2D709888}">
      <dgm:prSet/>
      <dgm:spPr/>
      <dgm:t>
        <a:bodyPr/>
        <a:lstStyle/>
        <a:p>
          <a:r>
            <a:rPr lang="en-AT"/>
            <a:t>AIS – Asset Influence Score</a:t>
          </a:r>
          <a:endParaRPr lang="en-US"/>
        </a:p>
      </dgm:t>
    </dgm:pt>
    <dgm:pt modelId="{F7ECF4D7-5B27-41E6-95DA-DB08C806F603}" type="parTrans" cxnId="{8E8F5745-C08F-4D1D-A3A7-F3115E373D2D}">
      <dgm:prSet/>
      <dgm:spPr/>
      <dgm:t>
        <a:bodyPr/>
        <a:lstStyle/>
        <a:p>
          <a:endParaRPr lang="en-US"/>
        </a:p>
      </dgm:t>
    </dgm:pt>
    <dgm:pt modelId="{F80E0714-C031-4321-9BAB-29662814244A}" type="sibTrans" cxnId="{8E8F5745-C08F-4D1D-A3A7-F3115E373D2D}">
      <dgm:prSet/>
      <dgm:spPr/>
      <dgm:t>
        <a:bodyPr/>
        <a:lstStyle/>
        <a:p>
          <a:endParaRPr lang="en-US"/>
        </a:p>
      </dgm:t>
    </dgm:pt>
    <dgm:pt modelId="{5AD050CD-DA83-4F22-9184-141745017D42}">
      <dgm:prSet/>
      <dgm:spPr/>
      <dgm:t>
        <a:bodyPr/>
        <a:lstStyle/>
        <a:p>
          <a:r>
            <a:rPr lang="en-AT"/>
            <a:t>Quantify the influence of a user over an asset</a:t>
          </a:r>
          <a:endParaRPr lang="en-US"/>
        </a:p>
      </dgm:t>
    </dgm:pt>
    <dgm:pt modelId="{9B6E6CC8-BE88-488F-85D4-7244FC13DB98}" type="parTrans" cxnId="{AAA303D1-A1DD-4D7B-B9BC-AA6FFC9838F0}">
      <dgm:prSet/>
      <dgm:spPr/>
      <dgm:t>
        <a:bodyPr/>
        <a:lstStyle/>
        <a:p>
          <a:endParaRPr lang="en-US"/>
        </a:p>
      </dgm:t>
    </dgm:pt>
    <dgm:pt modelId="{2F550830-345C-4A0E-B805-54C269994530}" type="sibTrans" cxnId="{AAA303D1-A1DD-4D7B-B9BC-AA6FFC9838F0}">
      <dgm:prSet/>
      <dgm:spPr/>
      <dgm:t>
        <a:bodyPr/>
        <a:lstStyle/>
        <a:p>
          <a:endParaRPr lang="en-US"/>
        </a:p>
      </dgm:t>
    </dgm:pt>
    <dgm:pt modelId="{0A13D920-0A8C-4889-8E68-6B5A3118E3E8}">
      <dgm:prSet/>
      <dgm:spPr/>
      <dgm:t>
        <a:bodyPr/>
        <a:lstStyle/>
        <a:p>
          <a:r>
            <a:rPr lang="en-AT" dirty="0"/>
            <a:t>Arm investors with knowledge about who influences their investments</a:t>
          </a:r>
          <a:endParaRPr lang="en-US" dirty="0"/>
        </a:p>
      </dgm:t>
    </dgm:pt>
    <dgm:pt modelId="{7826EF37-4E89-450C-A8A3-E492E4B8F162}" type="parTrans" cxnId="{BD86725F-7B4B-45DE-9D15-D95446E038FC}">
      <dgm:prSet/>
      <dgm:spPr/>
      <dgm:t>
        <a:bodyPr/>
        <a:lstStyle/>
        <a:p>
          <a:endParaRPr lang="en-US"/>
        </a:p>
      </dgm:t>
    </dgm:pt>
    <dgm:pt modelId="{81974191-D76B-4704-8AB6-C6608FF7E427}" type="sibTrans" cxnId="{BD86725F-7B4B-45DE-9D15-D95446E038FC}">
      <dgm:prSet/>
      <dgm:spPr/>
      <dgm:t>
        <a:bodyPr/>
        <a:lstStyle/>
        <a:p>
          <a:endParaRPr lang="en-US"/>
        </a:p>
      </dgm:t>
    </dgm:pt>
    <dgm:pt modelId="{38C0130D-6D6E-4C5E-A41E-ECB6CB3881F2}" type="pres">
      <dgm:prSet presAssocID="{7B4E1A99-7D7A-4159-9546-A7EB673973C2}" presName="root" presStyleCnt="0">
        <dgm:presLayoutVars>
          <dgm:dir/>
          <dgm:resizeHandles val="exact"/>
        </dgm:presLayoutVars>
      </dgm:prSet>
      <dgm:spPr/>
    </dgm:pt>
    <dgm:pt modelId="{D680C508-B123-45A5-B708-A542AE5D0E6D}" type="pres">
      <dgm:prSet presAssocID="{7772A8BD-275A-4497-BD6A-5D1E2D709888}" presName="compNode" presStyleCnt="0"/>
      <dgm:spPr/>
    </dgm:pt>
    <dgm:pt modelId="{DBD9172A-4CAE-4413-819A-759B7F447E7D}" type="pres">
      <dgm:prSet presAssocID="{7772A8BD-275A-4497-BD6A-5D1E2D709888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73B647D9-B8A2-4BB7-AE97-DE1D675CDF27}" type="pres">
      <dgm:prSet presAssocID="{7772A8BD-275A-4497-BD6A-5D1E2D709888}" presName="spaceRect" presStyleCnt="0"/>
      <dgm:spPr/>
    </dgm:pt>
    <dgm:pt modelId="{1A12DA8C-71B8-4EC4-B9A8-CFAA24D15BE0}" type="pres">
      <dgm:prSet presAssocID="{7772A8BD-275A-4497-BD6A-5D1E2D709888}" presName="textRect" presStyleLbl="revTx" presStyleIdx="0" presStyleCnt="3">
        <dgm:presLayoutVars>
          <dgm:chMax val="1"/>
          <dgm:chPref val="1"/>
        </dgm:presLayoutVars>
      </dgm:prSet>
      <dgm:spPr/>
    </dgm:pt>
    <dgm:pt modelId="{45068D5A-297F-49A3-8A17-1E56DAC85B39}" type="pres">
      <dgm:prSet presAssocID="{F80E0714-C031-4321-9BAB-29662814244A}" presName="sibTrans" presStyleCnt="0"/>
      <dgm:spPr/>
    </dgm:pt>
    <dgm:pt modelId="{B30C0452-5B68-4D04-8CCF-D66B17D839A1}" type="pres">
      <dgm:prSet presAssocID="{5AD050CD-DA83-4F22-9184-141745017D42}" presName="compNode" presStyleCnt="0"/>
      <dgm:spPr/>
    </dgm:pt>
    <dgm:pt modelId="{7A687EF4-440B-4D94-8E02-42F600D90CAB}" type="pres">
      <dgm:prSet presAssocID="{5AD050CD-DA83-4F22-9184-141745017D42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ey"/>
        </a:ext>
      </dgm:extLst>
    </dgm:pt>
    <dgm:pt modelId="{159A39B1-AA9D-4F27-91DC-366FD1304CE5}" type="pres">
      <dgm:prSet presAssocID="{5AD050CD-DA83-4F22-9184-141745017D42}" presName="spaceRect" presStyleCnt="0"/>
      <dgm:spPr/>
    </dgm:pt>
    <dgm:pt modelId="{CD3FD14F-A308-4C42-818A-8D0053707C27}" type="pres">
      <dgm:prSet presAssocID="{5AD050CD-DA83-4F22-9184-141745017D42}" presName="textRect" presStyleLbl="revTx" presStyleIdx="1" presStyleCnt="3">
        <dgm:presLayoutVars>
          <dgm:chMax val="1"/>
          <dgm:chPref val="1"/>
        </dgm:presLayoutVars>
      </dgm:prSet>
      <dgm:spPr/>
    </dgm:pt>
    <dgm:pt modelId="{B7D76B0D-11BF-4F86-8772-EB5E702C983B}" type="pres">
      <dgm:prSet presAssocID="{2F550830-345C-4A0E-B805-54C269994530}" presName="sibTrans" presStyleCnt="0"/>
      <dgm:spPr/>
    </dgm:pt>
    <dgm:pt modelId="{5F37C9B5-56FE-4FEC-A952-32CF3AC9974A}" type="pres">
      <dgm:prSet presAssocID="{0A13D920-0A8C-4889-8E68-6B5A3118E3E8}" presName="compNode" presStyleCnt="0"/>
      <dgm:spPr/>
    </dgm:pt>
    <dgm:pt modelId="{6028BA9B-A4AD-42C0-ADBE-0200BBABEC43}" type="pres">
      <dgm:prSet presAssocID="{0A13D920-0A8C-4889-8E68-6B5A3118E3E8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rain in head"/>
        </a:ext>
      </dgm:extLst>
    </dgm:pt>
    <dgm:pt modelId="{1146086C-8930-4D7C-B553-7ED2C4CC76BE}" type="pres">
      <dgm:prSet presAssocID="{0A13D920-0A8C-4889-8E68-6B5A3118E3E8}" presName="spaceRect" presStyleCnt="0"/>
      <dgm:spPr/>
    </dgm:pt>
    <dgm:pt modelId="{20EB629C-7345-4915-AB54-08CB0BE55F1F}" type="pres">
      <dgm:prSet presAssocID="{0A13D920-0A8C-4889-8E68-6B5A3118E3E8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90A07A11-85D0-4933-98B6-0B4A750A6CFD}" type="presOf" srcId="{0A13D920-0A8C-4889-8E68-6B5A3118E3E8}" destId="{20EB629C-7345-4915-AB54-08CB0BE55F1F}" srcOrd="0" destOrd="0" presId="urn:microsoft.com/office/officeart/2018/2/layout/IconLabelList"/>
    <dgm:cxn modelId="{26C68D2E-036F-44D4-ADC5-FFE8096838F6}" type="presOf" srcId="{5AD050CD-DA83-4F22-9184-141745017D42}" destId="{CD3FD14F-A308-4C42-818A-8D0053707C27}" srcOrd="0" destOrd="0" presId="urn:microsoft.com/office/officeart/2018/2/layout/IconLabelList"/>
    <dgm:cxn modelId="{667B8331-0C60-4867-A247-31D857EB8587}" type="presOf" srcId="{7B4E1A99-7D7A-4159-9546-A7EB673973C2}" destId="{38C0130D-6D6E-4C5E-A41E-ECB6CB3881F2}" srcOrd="0" destOrd="0" presId="urn:microsoft.com/office/officeart/2018/2/layout/IconLabelList"/>
    <dgm:cxn modelId="{BD86725F-7B4B-45DE-9D15-D95446E038FC}" srcId="{7B4E1A99-7D7A-4159-9546-A7EB673973C2}" destId="{0A13D920-0A8C-4889-8E68-6B5A3118E3E8}" srcOrd="2" destOrd="0" parTransId="{7826EF37-4E89-450C-A8A3-E492E4B8F162}" sibTransId="{81974191-D76B-4704-8AB6-C6608FF7E427}"/>
    <dgm:cxn modelId="{8E8F5745-C08F-4D1D-A3A7-F3115E373D2D}" srcId="{7B4E1A99-7D7A-4159-9546-A7EB673973C2}" destId="{7772A8BD-275A-4497-BD6A-5D1E2D709888}" srcOrd="0" destOrd="0" parTransId="{F7ECF4D7-5B27-41E6-95DA-DB08C806F603}" sibTransId="{F80E0714-C031-4321-9BAB-29662814244A}"/>
    <dgm:cxn modelId="{0D4A6547-39D2-44FD-A6CE-2E519F41E997}" type="presOf" srcId="{7772A8BD-275A-4497-BD6A-5D1E2D709888}" destId="{1A12DA8C-71B8-4EC4-B9A8-CFAA24D15BE0}" srcOrd="0" destOrd="0" presId="urn:microsoft.com/office/officeart/2018/2/layout/IconLabelList"/>
    <dgm:cxn modelId="{AAA303D1-A1DD-4D7B-B9BC-AA6FFC9838F0}" srcId="{7B4E1A99-7D7A-4159-9546-A7EB673973C2}" destId="{5AD050CD-DA83-4F22-9184-141745017D42}" srcOrd="1" destOrd="0" parTransId="{9B6E6CC8-BE88-488F-85D4-7244FC13DB98}" sibTransId="{2F550830-345C-4A0E-B805-54C269994530}"/>
    <dgm:cxn modelId="{80DF4353-1262-4217-9766-4315F851E574}" type="presParOf" srcId="{38C0130D-6D6E-4C5E-A41E-ECB6CB3881F2}" destId="{D680C508-B123-45A5-B708-A542AE5D0E6D}" srcOrd="0" destOrd="0" presId="urn:microsoft.com/office/officeart/2018/2/layout/IconLabelList"/>
    <dgm:cxn modelId="{A19D465D-3192-4EEE-ABB1-D6B30AC39088}" type="presParOf" srcId="{D680C508-B123-45A5-B708-A542AE5D0E6D}" destId="{DBD9172A-4CAE-4413-819A-759B7F447E7D}" srcOrd="0" destOrd="0" presId="urn:microsoft.com/office/officeart/2018/2/layout/IconLabelList"/>
    <dgm:cxn modelId="{9A88B9C8-E603-4CFA-9BE6-A5AEA3FE3F34}" type="presParOf" srcId="{D680C508-B123-45A5-B708-A542AE5D0E6D}" destId="{73B647D9-B8A2-4BB7-AE97-DE1D675CDF27}" srcOrd="1" destOrd="0" presId="urn:microsoft.com/office/officeart/2018/2/layout/IconLabelList"/>
    <dgm:cxn modelId="{E060B7A6-EE34-4AEE-9D63-4CD4D8D8B71E}" type="presParOf" srcId="{D680C508-B123-45A5-B708-A542AE5D0E6D}" destId="{1A12DA8C-71B8-4EC4-B9A8-CFAA24D15BE0}" srcOrd="2" destOrd="0" presId="urn:microsoft.com/office/officeart/2018/2/layout/IconLabelList"/>
    <dgm:cxn modelId="{1FA710A6-91B6-43BE-860E-77F6F88D5BFD}" type="presParOf" srcId="{38C0130D-6D6E-4C5E-A41E-ECB6CB3881F2}" destId="{45068D5A-297F-49A3-8A17-1E56DAC85B39}" srcOrd="1" destOrd="0" presId="urn:microsoft.com/office/officeart/2018/2/layout/IconLabelList"/>
    <dgm:cxn modelId="{5ECFF872-E443-4B93-9BBE-7C7D0630F75E}" type="presParOf" srcId="{38C0130D-6D6E-4C5E-A41E-ECB6CB3881F2}" destId="{B30C0452-5B68-4D04-8CCF-D66B17D839A1}" srcOrd="2" destOrd="0" presId="urn:microsoft.com/office/officeart/2018/2/layout/IconLabelList"/>
    <dgm:cxn modelId="{3CB3AC48-F291-4C5E-A092-0EB331EF6AE0}" type="presParOf" srcId="{B30C0452-5B68-4D04-8CCF-D66B17D839A1}" destId="{7A687EF4-440B-4D94-8E02-42F600D90CAB}" srcOrd="0" destOrd="0" presId="urn:microsoft.com/office/officeart/2018/2/layout/IconLabelList"/>
    <dgm:cxn modelId="{CC71EC85-E5AB-4DD4-A789-55BDD0718DEC}" type="presParOf" srcId="{B30C0452-5B68-4D04-8CCF-D66B17D839A1}" destId="{159A39B1-AA9D-4F27-91DC-366FD1304CE5}" srcOrd="1" destOrd="0" presId="urn:microsoft.com/office/officeart/2018/2/layout/IconLabelList"/>
    <dgm:cxn modelId="{6DF41FF7-EF61-4229-86B6-74668C54DA96}" type="presParOf" srcId="{B30C0452-5B68-4D04-8CCF-D66B17D839A1}" destId="{CD3FD14F-A308-4C42-818A-8D0053707C27}" srcOrd="2" destOrd="0" presId="urn:microsoft.com/office/officeart/2018/2/layout/IconLabelList"/>
    <dgm:cxn modelId="{92FC0ED6-29C3-400E-BB21-45F0C96FF2F4}" type="presParOf" srcId="{38C0130D-6D6E-4C5E-A41E-ECB6CB3881F2}" destId="{B7D76B0D-11BF-4F86-8772-EB5E702C983B}" srcOrd="3" destOrd="0" presId="urn:microsoft.com/office/officeart/2018/2/layout/IconLabelList"/>
    <dgm:cxn modelId="{B0491503-22A7-424C-B60E-D8A7349A62F8}" type="presParOf" srcId="{38C0130D-6D6E-4C5E-A41E-ECB6CB3881F2}" destId="{5F37C9B5-56FE-4FEC-A952-32CF3AC9974A}" srcOrd="4" destOrd="0" presId="urn:microsoft.com/office/officeart/2018/2/layout/IconLabelList"/>
    <dgm:cxn modelId="{F43B3B5B-C00A-4F3E-81F2-24E39EB8C990}" type="presParOf" srcId="{5F37C9B5-56FE-4FEC-A952-32CF3AC9974A}" destId="{6028BA9B-A4AD-42C0-ADBE-0200BBABEC43}" srcOrd="0" destOrd="0" presId="urn:microsoft.com/office/officeart/2018/2/layout/IconLabelList"/>
    <dgm:cxn modelId="{D99ACEAF-BB7A-4043-AC19-4F0C8F3A2DAA}" type="presParOf" srcId="{5F37C9B5-56FE-4FEC-A952-32CF3AC9974A}" destId="{1146086C-8930-4D7C-B553-7ED2C4CC76BE}" srcOrd="1" destOrd="0" presId="urn:microsoft.com/office/officeart/2018/2/layout/IconLabelList"/>
    <dgm:cxn modelId="{01830C2C-B1B6-4BED-8864-D554E5BEDB77}" type="presParOf" srcId="{5F37C9B5-56FE-4FEC-A952-32CF3AC9974A}" destId="{20EB629C-7345-4915-AB54-08CB0BE55F1F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D9172A-4CAE-4413-819A-759B7F447E7D}">
      <dsp:nvSpPr>
        <dsp:cNvPr id="0" name=""/>
        <dsp:cNvSpPr/>
      </dsp:nvSpPr>
      <dsp:spPr>
        <a:xfrm>
          <a:off x="1060924" y="557355"/>
          <a:ext cx="1274006" cy="127400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12DA8C-71B8-4EC4-B9A8-CFAA24D15BE0}">
      <dsp:nvSpPr>
        <dsp:cNvPr id="0" name=""/>
        <dsp:cNvSpPr/>
      </dsp:nvSpPr>
      <dsp:spPr>
        <a:xfrm>
          <a:off x="282365" y="2183383"/>
          <a:ext cx="2831124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T" sz="1600" kern="1200"/>
            <a:t>AIS – Asset Influence Score</a:t>
          </a:r>
          <a:endParaRPr lang="en-US" sz="1600" kern="1200"/>
        </a:p>
      </dsp:txBody>
      <dsp:txXfrm>
        <a:off x="282365" y="2183383"/>
        <a:ext cx="2831124" cy="720000"/>
      </dsp:txXfrm>
    </dsp:sp>
    <dsp:sp modelId="{7A687EF4-440B-4D94-8E02-42F600D90CAB}">
      <dsp:nvSpPr>
        <dsp:cNvPr id="0" name=""/>
        <dsp:cNvSpPr/>
      </dsp:nvSpPr>
      <dsp:spPr>
        <a:xfrm>
          <a:off x="4387495" y="557355"/>
          <a:ext cx="1274006" cy="127400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3FD14F-A308-4C42-818A-8D0053707C27}">
      <dsp:nvSpPr>
        <dsp:cNvPr id="0" name=""/>
        <dsp:cNvSpPr/>
      </dsp:nvSpPr>
      <dsp:spPr>
        <a:xfrm>
          <a:off x="3608936" y="2183383"/>
          <a:ext cx="2831124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T" sz="1600" kern="1200"/>
            <a:t>Quantify the influence of a user over an asset</a:t>
          </a:r>
          <a:endParaRPr lang="en-US" sz="1600" kern="1200"/>
        </a:p>
      </dsp:txBody>
      <dsp:txXfrm>
        <a:off x="3608936" y="2183383"/>
        <a:ext cx="2831124" cy="720000"/>
      </dsp:txXfrm>
    </dsp:sp>
    <dsp:sp modelId="{6028BA9B-A4AD-42C0-ADBE-0200BBABEC43}">
      <dsp:nvSpPr>
        <dsp:cNvPr id="0" name=""/>
        <dsp:cNvSpPr/>
      </dsp:nvSpPr>
      <dsp:spPr>
        <a:xfrm>
          <a:off x="7714067" y="557355"/>
          <a:ext cx="1274006" cy="127400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EB629C-7345-4915-AB54-08CB0BE55F1F}">
      <dsp:nvSpPr>
        <dsp:cNvPr id="0" name=""/>
        <dsp:cNvSpPr/>
      </dsp:nvSpPr>
      <dsp:spPr>
        <a:xfrm>
          <a:off x="6935508" y="2183383"/>
          <a:ext cx="2831124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T" sz="1600" kern="1200" dirty="0"/>
            <a:t>Arm investors with knowledge about who influences their investments</a:t>
          </a:r>
          <a:endParaRPr lang="en-US" sz="1600" kern="1200" dirty="0"/>
        </a:p>
      </dsp:txBody>
      <dsp:txXfrm>
        <a:off x="6935508" y="2183383"/>
        <a:ext cx="2831124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theme" Target="../theme/theme3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64D662-6B32-41D5-8E1A-96A9B6FAE509}" type="datetimeFigureOut">
              <a:rPr lang="en-GB" smtClean="0"/>
              <a:t>28/11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55DAD7-9648-4334-9973-3F53D86295A5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3843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heme" Target="../theme/theme2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en-GB" dirty="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BCA5CE-CF9B-49B4-9F54-EA4676D5EF6F}" type="datetimeFigureOut">
              <a:rPr lang="en-GB" smtClean="0"/>
              <a:t>28/11/2022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err="1"/>
              <a:t>Formatvorlagen</a:t>
            </a:r>
            <a:r>
              <a:rPr lang="en-GB" dirty="0"/>
              <a:t> des </a:t>
            </a:r>
            <a:r>
              <a:rPr lang="en-GB" dirty="0" err="1"/>
              <a:t>Textmasters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GB" dirty="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53593F-2752-4925-959E-BC626CD185A1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2824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T" dirty="0"/>
              <a:t>Problem is not price activity, but its tie to Elon Mus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53593F-2752-4925-959E-BC626CD185A1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155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53593F-2752-4925-959E-BC626CD185A1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4519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3.xml"/><Relationship Id="rId9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4" Type="http://schemas.openxmlformats.org/officeDocument/2006/relationships/tags" Target="../tags/tag101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0" y="1341689"/>
            <a:ext cx="12192000" cy="260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white">
          <a:xfrm>
            <a:off x="407988" y="1549666"/>
            <a:ext cx="11376024" cy="612759"/>
          </a:xfrm>
        </p:spPr>
        <p:txBody>
          <a:bodyPr anchor="b">
            <a:no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nter 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407987" y="2745548"/>
            <a:ext cx="11376025" cy="293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aseline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presentation subtitle</a:t>
            </a:r>
          </a:p>
        </p:txBody>
      </p:sp>
      <p:pic>
        <p:nvPicPr>
          <p:cNvPr id="6" name="Grafik 5" descr="Logo der Universität Wien">
            <a:extLst>
              <a:ext uri="{FF2B5EF4-FFF2-40B4-BE49-F238E27FC236}">
                <a16:creationId xmlns:a16="http://schemas.microsoft.com/office/drawing/2014/main" id="{E0C09C24-85DA-4FF2-93F3-43A491198C5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black">
          <a:xfrm>
            <a:off x="407987" y="404812"/>
            <a:ext cx="2255433" cy="61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700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407988" y="2276475"/>
            <a:ext cx="6680182" cy="3673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3"/>
            <p:custDataLst>
              <p:tags r:id="rId2"/>
            </p:custDataLst>
          </p:nvPr>
        </p:nvSpPr>
        <p:spPr>
          <a:xfrm>
            <a:off x="7388226" y="1557949"/>
            <a:ext cx="4392000" cy="41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7388226" y="5820569"/>
            <a:ext cx="4395787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  <p:custDataLst>
              <p:tags r:id="rId4"/>
            </p:custDataLst>
          </p:nvPr>
        </p:nvSpPr>
        <p:spPr/>
        <p:txBody>
          <a:bodyPr/>
          <a:lstStyle/>
          <a:p>
            <a:fld id="{FDA4A26E-50B4-894C-BAEC-29DF397E99D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A6BEB24-016D-4BD2-A0CE-A02AFF5CC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332185"/>
            <a:ext cx="6680182" cy="83633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287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>
          <a:xfrm>
            <a:off x="407988" y="1557950"/>
            <a:ext cx="4392000" cy="41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 hasCustomPrompt="1"/>
            <p:custDataLst>
              <p:tags r:id="rId2"/>
            </p:custDataLst>
          </p:nvPr>
        </p:nvSpPr>
        <p:spPr>
          <a:xfrm>
            <a:off x="407988" y="5820569"/>
            <a:ext cx="4395787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5091763" y="2276475"/>
            <a:ext cx="6692250" cy="36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  <p:custDataLst>
              <p:tags r:id="rId4"/>
            </p:custDataLst>
          </p:nvPr>
        </p:nvSpPr>
        <p:spPr/>
        <p:txBody>
          <a:bodyPr/>
          <a:lstStyle/>
          <a:p>
            <a:fld id="{16E7A712-6680-7D4E-9964-C2EF9F9D7D6B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3BC0175-FC57-4EE3-A7C6-766329CEF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1763" y="1332185"/>
            <a:ext cx="6692250" cy="83633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6388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abfallend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  <p:custDataLst>
              <p:tags r:id="rId2"/>
            </p:custDataLst>
          </p:nvPr>
        </p:nvSpPr>
        <p:spPr>
          <a:xfrm>
            <a:off x="0" y="2284357"/>
            <a:ext cx="12204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00480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F4D04-F35A-41F2-B85C-4C5292B78977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251200" y="413068"/>
            <a:ext cx="8532813" cy="8200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  <p:custDataLst>
              <p:tags r:id="rId2"/>
            </p:custDataLst>
          </p:nvPr>
        </p:nvSpPr>
        <p:spPr>
          <a:xfrm>
            <a:off x="407988" y="1395414"/>
            <a:ext cx="8532812" cy="430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407988" y="5820569"/>
            <a:ext cx="5688012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0"/>
            <p:custDataLst>
              <p:tags r:id="rId4"/>
            </p:custDataLst>
          </p:nvPr>
        </p:nvSpPr>
        <p:spPr>
          <a:xfrm>
            <a:off x="9226550" y="1395413"/>
            <a:ext cx="2557463" cy="4309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  <p:custDataLst>
              <p:tags r:id="rId5"/>
            </p:custDataLst>
          </p:nvPr>
        </p:nvSpPr>
        <p:spPr/>
        <p:txBody>
          <a:bodyPr/>
          <a:lstStyle/>
          <a:p>
            <a:fld id="{9FCDE8BE-95A3-2443-985F-FC204D0B753C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48902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groß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  <p:custDataLst>
              <p:tags r:id="rId2"/>
            </p:custDataLst>
          </p:nvPr>
        </p:nvSpPr>
        <p:spPr>
          <a:xfrm>
            <a:off x="407988" y="2276476"/>
            <a:ext cx="8532812" cy="34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407988" y="5820569"/>
            <a:ext cx="5688012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0"/>
            <p:custDataLst>
              <p:tags r:id="rId4"/>
            </p:custDataLst>
          </p:nvPr>
        </p:nvSpPr>
        <p:spPr>
          <a:xfrm>
            <a:off x="9226550" y="2276475"/>
            <a:ext cx="2557463" cy="342984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  <p:custDataLst>
              <p:tags r:id="rId5"/>
            </p:custDataLst>
          </p:nvPr>
        </p:nvSpPr>
        <p:spPr/>
        <p:txBody>
          <a:bodyPr/>
          <a:lstStyle/>
          <a:p>
            <a:fld id="{ADE271A0-C772-7E4B-A74F-7F12B415973E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0210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74F3F-FB44-4CE0-80DF-CBEA636F8C4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251200" y="404813"/>
            <a:ext cx="8532813" cy="8200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8"/>
            <p:custDataLst>
              <p:tags r:id="rId2"/>
            </p:custDataLst>
          </p:nvPr>
        </p:nvSpPr>
        <p:spPr>
          <a:xfrm>
            <a:off x="416234" y="1395413"/>
            <a:ext cx="4356000" cy="430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407988" y="5820569"/>
            <a:ext cx="4356000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  <p:custDataLst>
              <p:tags r:id="rId4"/>
            </p:custDataLst>
          </p:nvPr>
        </p:nvSpPr>
        <p:spPr>
          <a:xfrm>
            <a:off x="5067300" y="1395413"/>
            <a:ext cx="4356000" cy="430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5068800" y="5820569"/>
            <a:ext cx="4356000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>
          <a:xfrm>
            <a:off x="9712325" y="1395413"/>
            <a:ext cx="2071688" cy="4554537"/>
          </a:xfrm>
          <a:prstGeom prst="rect">
            <a:avLst/>
          </a:prstGeom>
        </p:spPr>
        <p:txBody>
          <a:bodyPr>
            <a:noAutofit/>
          </a:bodyPr>
          <a:lstStyle>
            <a:lvl1pPr marL="176213" indent="-176213">
              <a:buFont typeface="Arial" panose="020B0604020202020204" pitchFamily="34" charset="0"/>
              <a:buChar char="•"/>
              <a:defRPr sz="1600">
                <a:latin typeface="+mn-lt"/>
              </a:defRPr>
            </a:lvl1pPr>
            <a:lvl2pPr>
              <a:defRPr sz="160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fld id="{91A26E2A-9873-2D49-92BD-FC2EC39C0588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91562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zwei Bilder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8"/>
            <p:custDataLst>
              <p:tags r:id="rId2"/>
            </p:custDataLst>
          </p:nvPr>
        </p:nvSpPr>
        <p:spPr>
          <a:xfrm>
            <a:off x="416234" y="2276474"/>
            <a:ext cx="4356000" cy="34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407988" y="5820569"/>
            <a:ext cx="4356000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  <p:custDataLst>
              <p:tags r:id="rId4"/>
            </p:custDataLst>
          </p:nvPr>
        </p:nvSpPr>
        <p:spPr>
          <a:xfrm>
            <a:off x="5067300" y="2276474"/>
            <a:ext cx="4356000" cy="34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5067300" y="5820569"/>
            <a:ext cx="4356000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>
          <a:xfrm>
            <a:off x="9712325" y="2276475"/>
            <a:ext cx="2071688" cy="3673475"/>
          </a:xfrm>
          <a:prstGeom prst="rect">
            <a:avLst/>
          </a:prstGeom>
        </p:spPr>
        <p:txBody>
          <a:bodyPr>
            <a:noAutofit/>
          </a:bodyPr>
          <a:lstStyle>
            <a:lvl1pPr marL="176213" indent="-176213">
              <a:buFont typeface="Arial" panose="020B0604020202020204" pitchFamily="34" charset="0"/>
              <a:buChar char="•"/>
              <a:defRPr sz="1600">
                <a:latin typeface="+mn-lt"/>
              </a:defRPr>
            </a:lvl1pPr>
            <a:lvl2pPr>
              <a:defRPr sz="160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fld id="{7A0B2DC4-B7B0-764D-AFD4-376931D0BA02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15816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  <p:custDataLst>
              <p:tags r:id="rId2"/>
            </p:custDataLst>
          </p:nvPr>
        </p:nvSpPr>
        <p:spPr>
          <a:xfrm>
            <a:off x="416234" y="2276475"/>
            <a:ext cx="5543550" cy="34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407988" y="5820568"/>
            <a:ext cx="5543550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>
          <a:xfrm>
            <a:off x="6240462" y="2276475"/>
            <a:ext cx="5543550" cy="34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230054" y="5820568"/>
            <a:ext cx="5543550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9A6F28F6-8A1F-234C-B43B-545992048422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7964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07987" y="2276475"/>
            <a:ext cx="8532813" cy="3673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4851E60F-A66C-4849-B505-3F1AAD1C795A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9172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407988" y="3429000"/>
            <a:ext cx="11376024" cy="1783649"/>
          </a:xfrm>
        </p:spPr>
        <p:txBody>
          <a:bodyPr anchor="b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Enter 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407987" y="5318144"/>
            <a:ext cx="11376025" cy="6318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710743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DB1A65-0A09-427A-BAD6-55A542536B1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07987" y="2276475"/>
            <a:ext cx="11376026" cy="36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 sz="1050"/>
            </a:lvl1pPr>
          </a:lstStyle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09300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Enter chapter title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07987" y="2199450"/>
            <a:ext cx="11376025" cy="293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chapter subtitl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  <p:custDataLst>
              <p:tags r:id="rId3"/>
            </p:custDataLst>
          </p:nvPr>
        </p:nvSpPr>
        <p:spPr>
          <a:xfrm>
            <a:off x="0" y="2719551"/>
            <a:ext cx="12204000" cy="41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7002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-  schrift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407988" y="3840480"/>
            <a:ext cx="11376024" cy="1372169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Enter chap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407987" y="5318144"/>
            <a:ext cx="11376025" cy="293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Enter chapter subtitle</a:t>
            </a:r>
          </a:p>
        </p:txBody>
      </p:sp>
      <p:cxnSp>
        <p:nvCxnSpPr>
          <p:cNvPr id="8" name="Gerader Verbinder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407987" y="6165850"/>
            <a:ext cx="1137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6589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407988" y="2276475"/>
            <a:ext cx="5543633" cy="3673475"/>
          </a:xfrm>
          <a:prstGeom prst="rect">
            <a:avLst/>
          </a:prstGeom>
        </p:spPr>
        <p:txBody>
          <a:bodyPr/>
          <a:lstStyle>
            <a:lvl1pPr>
              <a:defRPr lang="en-GB" dirty="0"/>
            </a:lvl1pPr>
            <a:lvl2pPr>
              <a:defRPr lang="en-GB" sz="2200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240379" y="2276475"/>
            <a:ext cx="5543633" cy="3673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F20192DA-0396-EE42-A01E-0D76DB7448C4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1667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407988" y="2276475"/>
            <a:ext cx="5550868" cy="72937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407988" y="3185234"/>
            <a:ext cx="5550867" cy="27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  <p:custDataLst>
              <p:tags r:id="rId4"/>
            </p:custDataLst>
          </p:nvPr>
        </p:nvSpPr>
        <p:spPr>
          <a:xfrm>
            <a:off x="6240378" y="2276475"/>
            <a:ext cx="5543633" cy="72937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6240378" y="3185234"/>
            <a:ext cx="5543634" cy="27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EC264231-A3D8-054E-A1B6-DBDEFD66FBE3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69137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Text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407988" y="2276475"/>
            <a:ext cx="5543550" cy="34336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407988" y="5820569"/>
            <a:ext cx="5543550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0463" y="2276475"/>
            <a:ext cx="5543550" cy="34336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800"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240463" y="5820569"/>
            <a:ext cx="5543549" cy="232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179388" indent="0">
              <a:buNone/>
              <a:defRPr/>
            </a:lvl2pPr>
            <a:lvl3pPr marL="358775" indent="0">
              <a:buNone/>
              <a:defRPr/>
            </a:lvl3pPr>
            <a:lvl4pPr marL="536575" indent="0">
              <a:buNone/>
              <a:defRPr/>
            </a:lvl4pPr>
            <a:lvl5pPr marL="715962" indent="0">
              <a:buNone/>
              <a:defRPr/>
            </a:lvl5pPr>
          </a:lstStyle>
          <a:p>
            <a:r>
              <a:rPr lang="en-GB" dirty="0"/>
              <a:t>Enter reference, source or copyright information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05EF5345-4B3B-1844-864C-BD8C3449DEDA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26995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407987" y="1332185"/>
            <a:ext cx="8532813" cy="83633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GB" dirty="0"/>
          </a:p>
        </p:txBody>
      </p:sp>
      <p:pic>
        <p:nvPicPr>
          <p:cNvPr id="10" name="Grafik 9" descr="Logo der Universität Wien">
            <a:extLst>
              <a:ext uri="{FF2B5EF4-FFF2-40B4-BE49-F238E27FC236}">
                <a16:creationId xmlns:a16="http://schemas.microsoft.com/office/drawing/2014/main" id="{A240AD91-C4C6-45CF-A3B2-729814E3FA9C}"/>
              </a:ext>
            </a:extLst>
          </p:cNvPr>
          <p:cNvPicPr>
            <a:picLocks noChangeAspect="1"/>
          </p:cNvPicPr>
          <p:nvPr userDrawn="1">
            <p:custDataLst>
              <p:tags r:id="rId20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 bwMode="black">
          <a:xfrm>
            <a:off x="407987" y="404812"/>
            <a:ext cx="2255433" cy="615600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407987" y="6165850"/>
            <a:ext cx="1137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407989" y="6422400"/>
            <a:ext cx="7200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fld id="{B314D3F0-8981-9145-AB1C-35647B23ADFD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>
          <a:xfrm>
            <a:off x="1139614" y="6422400"/>
            <a:ext cx="7801186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10956013" y="6422400"/>
            <a:ext cx="8280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age </a:t>
            </a:r>
            <a:fld id="{05A5AE1F-4813-4D0A-B870-8FB3219A412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E255242-2094-4580-A2A9-3B223EE1EB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2276476"/>
            <a:ext cx="11376026" cy="36734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81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9" r:id="rId3"/>
    <p:sldLayoutId id="2147483672" r:id="rId4"/>
    <p:sldLayoutId id="2147483651" r:id="rId5"/>
    <p:sldLayoutId id="2147483668" r:id="rId6"/>
    <p:sldLayoutId id="2147483652" r:id="rId7"/>
    <p:sldLayoutId id="2147483653" r:id="rId8"/>
    <p:sldLayoutId id="2147483657" r:id="rId9"/>
    <p:sldLayoutId id="2147483660" r:id="rId10"/>
    <p:sldLayoutId id="2147483656" r:id="rId11"/>
    <p:sldLayoutId id="2147483670" r:id="rId12"/>
    <p:sldLayoutId id="2147483661" r:id="rId13"/>
    <p:sldLayoutId id="2147483673" r:id="rId14"/>
    <p:sldLayoutId id="2147483662" r:id="rId15"/>
    <p:sldLayoutId id="2147483674" r:id="rId16"/>
    <p:sldLayoutId id="2147483671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5000"/>
        </a:lnSpc>
        <a:spcBef>
          <a:spcPts val="1000"/>
        </a:spcBef>
        <a:buClr>
          <a:schemeClr val="accent1"/>
        </a:buClr>
        <a:buFont typeface="Source Sans Pro Light" panose="020B0403030403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79388" algn="l" defTabSz="914400" rtl="0" eaLnBrk="1" latinLnBrk="0" hangingPunct="1">
        <a:lnSpc>
          <a:spcPct val="95000"/>
        </a:lnSpc>
        <a:spcBef>
          <a:spcPts val="500"/>
        </a:spcBef>
        <a:buSzPct val="100000"/>
        <a:buFont typeface="Source Sans Pro Light" panose="020B0403030403020204" pitchFamily="34" charset="0"/>
        <a:buChar char="◦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4150" algn="l" defTabSz="914400" rtl="0" eaLnBrk="1" latinLnBrk="0" hangingPunct="1">
        <a:lnSpc>
          <a:spcPct val="95000"/>
        </a:lnSpc>
        <a:spcBef>
          <a:spcPts val="500"/>
        </a:spcBef>
        <a:buFont typeface="Source Sans Pro Light" panose="020B0403030403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22313" indent="-182563" algn="l" defTabSz="914400" rtl="0" eaLnBrk="1" latinLnBrk="0" hangingPunct="1">
        <a:lnSpc>
          <a:spcPct val="95000"/>
        </a:lnSpc>
        <a:spcBef>
          <a:spcPts val="500"/>
        </a:spcBef>
        <a:buFont typeface="Source Sans Pro Light" panose="020B0403030403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3038" algn="l" defTabSz="914400" rtl="0" eaLnBrk="1" latinLnBrk="0" hangingPunct="1">
        <a:lnSpc>
          <a:spcPct val="95000"/>
        </a:lnSpc>
        <a:spcBef>
          <a:spcPts val="500"/>
        </a:spcBef>
        <a:buFont typeface="Source Sans Pro Light" panose="020B0403030403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Source Sans Pro Light" panose="020B0403030403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Source Sans Pro Light" panose="020B0403030403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Source Sans Pro Light" panose="020B0403030403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Source Sans Pro Light" panose="020B0403030403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57" userDrawn="1">
          <p15:clr>
            <a:srgbClr val="F26B43"/>
          </p15:clr>
        </p15:guide>
        <p15:guide id="4" pos="7423" userDrawn="1">
          <p15:clr>
            <a:srgbClr val="F26B43"/>
          </p15:clr>
        </p15:guide>
        <p15:guide id="5" orient="horz" pos="255" userDrawn="1">
          <p15:clr>
            <a:srgbClr val="F26B43"/>
          </p15:clr>
        </p15:guide>
        <p15:guide id="7" orient="horz" pos="1434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pos="5632" userDrawn="1">
          <p15:clr>
            <a:srgbClr val="F26B43"/>
          </p15:clr>
        </p15:guide>
        <p15:guide id="10" orient="horz" pos="1366" userDrawn="1">
          <p15:clr>
            <a:srgbClr val="F26B43"/>
          </p15:clr>
        </p15:guide>
        <p15:guide id="11" orient="horz" pos="3748" userDrawn="1">
          <p15:clr>
            <a:srgbClr val="F26B43"/>
          </p15:clr>
        </p15:guide>
        <p15:guide id="12" orient="horz" pos="879" userDrawn="1">
          <p15:clr>
            <a:srgbClr val="F26B43"/>
          </p15:clr>
        </p15:guide>
        <p15:guide id="13" orient="horz" pos="834" userDrawn="1">
          <p15:clr>
            <a:srgbClr val="F26B43"/>
          </p15:clr>
        </p15:guide>
        <p15:guide id="14" pos="3749" userDrawn="1">
          <p15:clr>
            <a:srgbClr val="F26B43"/>
          </p15:clr>
        </p15:guide>
        <p15:guide id="15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34EF85-9924-40CC-99E0-6CC8A8695F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7" y="1941590"/>
            <a:ext cx="11376024" cy="612759"/>
          </a:xfrm>
        </p:spPr>
        <p:txBody>
          <a:bodyPr/>
          <a:lstStyle/>
          <a:p>
            <a:r>
              <a:rPr lang="en-US" dirty="0"/>
              <a:t>AIS – Asset Influence Score</a:t>
            </a:r>
            <a:br>
              <a:rPr lang="en-US" dirty="0"/>
            </a:br>
            <a:r>
              <a:rPr lang="en-AT" sz="2000" dirty="0"/>
              <a:t>a Metric for assessing the I</a:t>
            </a:r>
            <a:r>
              <a:rPr lang="en-US" sz="2000" dirty="0" err="1"/>
              <a:t>mpact</a:t>
            </a:r>
            <a:r>
              <a:rPr lang="en-AT" sz="2000" dirty="0"/>
              <a:t> of a</a:t>
            </a:r>
            <a:r>
              <a:rPr lang="en-US" sz="2000" dirty="0"/>
              <a:t>n Influencer‘s</a:t>
            </a:r>
            <a:r>
              <a:rPr lang="en-AT" sz="2000" dirty="0"/>
              <a:t> Twitter Activity on the Price of a Cryptocurrency 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645B23A-B3EA-4E1D-9E83-027ECA87F5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7" y="2878022"/>
            <a:ext cx="11376025" cy="293470"/>
          </a:xfrm>
        </p:spPr>
        <p:txBody>
          <a:bodyPr/>
          <a:lstStyle/>
          <a:p>
            <a:r>
              <a:rPr lang="en-US" sz="2400" dirty="0"/>
              <a:t>Kevin Miller, BSc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B5344B-87D8-983D-F8A2-DCB87280A6BB}"/>
              </a:ext>
            </a:extLst>
          </p:cNvPr>
          <p:cNvSpPr txBox="1"/>
          <p:nvPr/>
        </p:nvSpPr>
        <p:spPr>
          <a:xfrm>
            <a:off x="324544" y="3310681"/>
            <a:ext cx="58464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T" dirty="0">
                <a:solidFill>
                  <a:schemeClr val="bg1"/>
                </a:solidFill>
                <a:latin typeface="Source Sans Pro Semibold" panose="020B0603030403020204" pitchFamily="34" charset="0"/>
              </a:rPr>
              <a:t>Supervisors: Dr. Kristof Böhmer, </a:t>
            </a:r>
            <a:r>
              <a:rPr lang="en-GB" dirty="0">
                <a:solidFill>
                  <a:schemeClr val="bg1"/>
                </a:solidFill>
                <a:latin typeface="Source Sans Pro Semibold" panose="020B0603030403020204" pitchFamily="34" charset="0"/>
              </a:rPr>
              <a:t>Univ.-Prof. </a:t>
            </a:r>
            <a:r>
              <a:rPr lang="en-GB" dirty="0" err="1">
                <a:solidFill>
                  <a:schemeClr val="bg1"/>
                </a:solidFill>
                <a:latin typeface="Source Sans Pro Semibold" panose="020B0603030403020204" pitchFamily="34" charset="0"/>
              </a:rPr>
              <a:t>Dr.Uwe</a:t>
            </a:r>
            <a:r>
              <a:rPr lang="en-GB" dirty="0">
                <a:solidFill>
                  <a:schemeClr val="bg1"/>
                </a:solidFill>
                <a:latin typeface="Source Sans Pro Semibold" panose="020B0603030403020204" pitchFamily="34" charset="0"/>
              </a:rPr>
              <a:t> Zdun</a:t>
            </a:r>
          </a:p>
          <a:p>
            <a:endParaRPr lang="en-AT" dirty="0">
              <a:solidFill>
                <a:schemeClr val="bg1"/>
              </a:solidFill>
              <a:latin typeface="Source Sans Pro Semibold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9656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F6FDD9-0EB8-F3E6-3CD3-D42C949FE5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1366410"/>
            <a:ext cx="5192711" cy="2873081"/>
          </a:xfr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lIns="108000" tIns="108000" rIns="108000" bIns="108000"/>
          <a:lstStyle/>
          <a:p>
            <a:pPr marL="0" indent="0">
              <a:buNone/>
            </a:pPr>
            <a:r>
              <a:rPr lang="en-AT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indings</a:t>
            </a:r>
          </a:p>
          <a:p>
            <a:pPr lvl="1"/>
            <a:r>
              <a:rPr lang="en-AT" dirty="0"/>
              <a:t>Price prediction through</a:t>
            </a:r>
          </a:p>
          <a:p>
            <a:pPr lvl="2"/>
            <a:r>
              <a:rPr lang="en-AT" dirty="0"/>
              <a:t>Sentiment Analysis</a:t>
            </a:r>
          </a:p>
          <a:p>
            <a:pPr lvl="2"/>
            <a:r>
              <a:rPr lang="en-AT" dirty="0"/>
              <a:t>Google Trends</a:t>
            </a:r>
          </a:p>
          <a:p>
            <a:pPr lvl="2"/>
            <a:r>
              <a:rPr lang="en-AT" dirty="0"/>
              <a:t>Tweet Volume</a:t>
            </a:r>
          </a:p>
          <a:p>
            <a:pPr lvl="1"/>
            <a:r>
              <a:rPr lang="en-GB" dirty="0"/>
              <a:t>B</a:t>
            </a:r>
            <a:r>
              <a:rPr lang="en-AT" dirty="0"/>
              <a:t>road userbase sentiment</a:t>
            </a:r>
          </a:p>
          <a:p>
            <a:pPr lvl="1"/>
            <a:r>
              <a:rPr lang="en-GB" dirty="0"/>
              <a:t>N</a:t>
            </a:r>
            <a:r>
              <a:rPr lang="en-AT" dirty="0"/>
              <a:t>eural Networks perform bes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A5A9DF-0F86-3235-85D5-0C4F3E58D9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B79D88-C107-7767-B371-1774C37DE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A73C9B-435C-14D4-554E-35DFB0E32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31B5B23-6621-7696-1477-27EE603BA227}"/>
              </a:ext>
            </a:extLst>
          </p:cNvPr>
          <p:cNvSpPr txBox="1">
            <a:spLocks/>
          </p:cNvSpPr>
          <p:nvPr/>
        </p:nvSpPr>
        <p:spPr>
          <a:xfrm>
            <a:off x="6096000" y="1366410"/>
            <a:ext cx="5688011" cy="287308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vert="horz" lIns="108000" tIns="108000" rIns="108000" bIns="108000" rtlCol="0">
            <a:normAutofit/>
          </a:bodyPr>
          <a:lstStyle>
            <a:lvl1pPr marL="182563" indent="-182563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accent1"/>
              </a:buClr>
              <a:buFont typeface="Source Sans Pro Light" panose="020B0403030403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79388" algn="l" defTabSz="914400" rtl="0" eaLnBrk="1" latinLnBrk="0" hangingPunct="1">
              <a:lnSpc>
                <a:spcPct val="95000"/>
              </a:lnSpc>
              <a:spcBef>
                <a:spcPts val="500"/>
              </a:spcBef>
              <a:buSzPct val="100000"/>
              <a:buFont typeface="Source Sans Pro Light" panose="020B0403030403020204" pitchFamily="34" charset="0"/>
              <a:buChar char="◦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8415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Font typeface="Source Sans Pro Light" panose="020B040303040302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13" indent="-18256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3038" algn="l" defTabSz="914400" rtl="0" eaLnBrk="1" latinLnBrk="0" hangingPunct="1">
              <a:lnSpc>
                <a:spcPct val="95000"/>
              </a:lnSpc>
              <a:spcBef>
                <a:spcPts val="500"/>
              </a:spcBef>
              <a:buFont typeface="Source Sans Pro Light" panose="020B040303040302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ource Sans Pro Light" panose="020B0403030403020204" pitchFamily="34" charset="0"/>
              <a:buNone/>
            </a:pPr>
            <a:r>
              <a:rPr lang="en-AT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Gaps</a:t>
            </a:r>
            <a:br>
              <a:rPr lang="en-AT" sz="28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</a:br>
            <a:endParaRPr lang="en-AT" sz="28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lvl="1"/>
            <a:r>
              <a:rPr lang="en-AT" dirty="0"/>
              <a:t>Lack of explainability</a:t>
            </a:r>
          </a:p>
          <a:p>
            <a:pPr lvl="1"/>
            <a:r>
              <a:rPr lang="en-AT" dirty="0"/>
              <a:t>No replicability</a:t>
            </a:r>
          </a:p>
          <a:p>
            <a:pPr lvl="1"/>
            <a:r>
              <a:rPr lang="en-GB" dirty="0"/>
              <a:t>D</a:t>
            </a:r>
            <a:r>
              <a:rPr lang="en-AT" dirty="0"/>
              <a:t>ata only used as tool for prediction</a:t>
            </a:r>
          </a:p>
          <a:p>
            <a:pPr lvl="1"/>
            <a:r>
              <a:rPr lang="en-GB" dirty="0"/>
              <a:t>D</a:t>
            </a:r>
            <a:r>
              <a:rPr lang="en-AT" dirty="0"/>
              <a:t>ata source is often neglected</a:t>
            </a:r>
          </a:p>
          <a:p>
            <a:pPr lvl="1"/>
            <a:endParaRPr lang="en-AT" dirty="0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D974D7A6-719F-9CAF-BE98-E0ECC18AA325}"/>
              </a:ext>
            </a:extLst>
          </p:cNvPr>
          <p:cNvSpPr txBox="1">
            <a:spLocks/>
          </p:cNvSpPr>
          <p:nvPr/>
        </p:nvSpPr>
        <p:spPr>
          <a:xfrm>
            <a:off x="407987" y="4136448"/>
            <a:ext cx="11376026" cy="367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563" indent="-182563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Clr>
                <a:schemeClr val="accent1"/>
              </a:buClr>
              <a:buFont typeface="Source Sans Pro Light" panose="020B0403030403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79388" algn="l" defTabSz="914400" rtl="0" eaLnBrk="1" latinLnBrk="0" hangingPunct="1">
              <a:lnSpc>
                <a:spcPct val="95000"/>
              </a:lnSpc>
              <a:spcBef>
                <a:spcPts val="500"/>
              </a:spcBef>
              <a:buSzPct val="100000"/>
              <a:buFont typeface="Source Sans Pro Light" panose="020B0403030403020204" pitchFamily="34" charset="0"/>
              <a:buChar char="◦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84150" algn="l" defTabSz="914400" rtl="0" eaLnBrk="1" latinLnBrk="0" hangingPunct="1">
              <a:lnSpc>
                <a:spcPct val="95000"/>
              </a:lnSpc>
              <a:spcBef>
                <a:spcPts val="500"/>
              </a:spcBef>
              <a:buFont typeface="Source Sans Pro Light" panose="020B040303040302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13" indent="-182563" algn="l" defTabSz="914400" rtl="0" eaLnBrk="1" latinLnBrk="0" hangingPunct="1">
              <a:lnSpc>
                <a:spcPct val="95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3038" algn="l" defTabSz="914400" rtl="0" eaLnBrk="1" latinLnBrk="0" hangingPunct="1">
              <a:lnSpc>
                <a:spcPct val="95000"/>
              </a:lnSpc>
              <a:spcBef>
                <a:spcPts val="500"/>
              </a:spcBef>
              <a:buFont typeface="Source Sans Pro Light" panose="020B040303040302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ource Sans Pro Light" panose="020B0403030403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  <a:p>
            <a:pPr marL="0" indent="0">
              <a:buFont typeface="Source Sans Pro Light" panose="020B0403030403020204" pitchFamily="34" charset="0"/>
              <a:buNone/>
              <a:tabLst>
                <a:tab pos="5033010" algn="r"/>
              </a:tabLst>
            </a:pPr>
            <a:r>
              <a:rPr lang="en-US" b="1" dirty="0"/>
              <a:t>Unanswered:</a:t>
            </a:r>
            <a:r>
              <a:rPr lang="en-US" dirty="0"/>
              <a:t> </a:t>
            </a:r>
            <a:endParaRPr lang="de-DE" dirty="0"/>
          </a:p>
          <a:p>
            <a:pPr marL="538163" indent="-538163">
              <a:buNone/>
              <a:tabLst>
                <a:tab pos="5033010" algn="r"/>
              </a:tabLst>
            </a:pPr>
            <a:r>
              <a:rPr lang="en-US" b="1" dirty="0"/>
              <a:t>5. </a:t>
            </a:r>
            <a:r>
              <a:rPr lang="en-US" dirty="0"/>
              <a:t>	Is it possible to create a meaningful metric for the classifying the potential influence of a given user over a given asset?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54670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9AA03E-3213-B252-D4E9-C9AA0EF2C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9" y="1125075"/>
            <a:ext cx="8532813" cy="836339"/>
          </a:xfrm>
        </p:spPr>
        <p:txBody>
          <a:bodyPr/>
          <a:lstStyle/>
          <a:p>
            <a:r>
              <a:rPr lang="de-DE" dirty="0"/>
              <a:t>The AIS – General Approach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B1D024-4593-14C4-9C58-0687508FC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D9614DA-0106-B02D-81B6-2BAFA04BD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5059003-9ED3-32ED-9D89-DD212EB63E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8D473E7-FB25-24D8-A517-000893B0E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3343" y="2128558"/>
            <a:ext cx="10165314" cy="38308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29962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D3946D-FDE5-6BBE-5CE1-5A945A049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er Inform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A135389-440A-27A5-B006-CAC1585B93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Cryptocurrency</a:t>
            </a:r>
            <a:endParaRPr lang="de-DE" dirty="0"/>
          </a:p>
          <a:p>
            <a:r>
              <a:rPr lang="de-DE" dirty="0" err="1"/>
              <a:t>Sliding</a:t>
            </a:r>
            <a:r>
              <a:rPr lang="de-DE" dirty="0"/>
              <a:t> </a:t>
            </a:r>
            <a:r>
              <a:rPr lang="de-DE" dirty="0" err="1"/>
              <a:t>Window</a:t>
            </a:r>
            <a:r>
              <a:rPr lang="de-DE" dirty="0"/>
              <a:t> Size</a:t>
            </a:r>
          </a:p>
          <a:p>
            <a:r>
              <a:rPr lang="de-DE" dirty="0" err="1"/>
              <a:t>Breakout</a:t>
            </a:r>
            <a:r>
              <a:rPr lang="de-DE" dirty="0"/>
              <a:t> Threshold </a:t>
            </a:r>
            <a:r>
              <a:rPr lang="de-DE" dirty="0" err="1"/>
              <a:t>Factor</a:t>
            </a:r>
            <a:endParaRPr lang="de-DE" dirty="0"/>
          </a:p>
          <a:p>
            <a:r>
              <a:rPr lang="de-DE" dirty="0"/>
              <a:t>Minimum Tweets per User</a:t>
            </a:r>
          </a:p>
          <a:p>
            <a:r>
              <a:rPr lang="de-DE" dirty="0"/>
              <a:t>Pearson </a:t>
            </a:r>
            <a:r>
              <a:rPr lang="de-DE" dirty="0" err="1"/>
              <a:t>Correlation</a:t>
            </a:r>
            <a:r>
              <a:rPr lang="de-DE" dirty="0"/>
              <a:t> </a:t>
            </a:r>
            <a:r>
              <a:rPr lang="de-DE" dirty="0" err="1"/>
              <a:t>Coefficie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Bitcoin</a:t>
            </a:r>
          </a:p>
          <a:p>
            <a:r>
              <a:rPr lang="de-DE" dirty="0" err="1"/>
              <a:t>Timefram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8BB0C4-E8C4-446F-44E1-B747DB1F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35C054-C66B-4E71-D9F5-AF64E7A98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FAC79D-EE20-1508-1873-AB091F4B6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E818BF4-34E4-717A-D245-0F73D374DC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989" y="1009017"/>
            <a:ext cx="3169024" cy="4839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6120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D56235-EA58-CBF9-A336-5EC0ADAA6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Collection – Price </a:t>
            </a:r>
            <a:r>
              <a:rPr lang="de-DE" dirty="0" err="1"/>
              <a:t>data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65EAE7B-596A-E9AA-DA8A-A28E103DA6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2303136"/>
            <a:ext cx="11376026" cy="3672000"/>
          </a:xfrm>
        </p:spPr>
        <p:txBody>
          <a:bodyPr/>
          <a:lstStyle/>
          <a:p>
            <a:r>
              <a:rPr lang="de-DE" dirty="0" err="1"/>
              <a:t>Cryptocompare</a:t>
            </a:r>
            <a:r>
              <a:rPr lang="de-DE" dirty="0"/>
              <a:t> API</a:t>
            </a:r>
          </a:p>
          <a:p>
            <a:r>
              <a:rPr lang="de-DE" dirty="0"/>
              <a:t>OHLCV (Open, High, Low, Close, Volume)</a:t>
            </a:r>
          </a:p>
          <a:p>
            <a:r>
              <a:rPr lang="de-DE" dirty="0" err="1"/>
              <a:t>Hourly</a:t>
            </a:r>
            <a:endParaRPr lang="de-DE" dirty="0"/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31F8312-91F2-EEB3-D50F-9FBAF835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16AA932-00E2-E251-8337-5271C7A21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EB5A96-B2FF-520C-6012-DABD21A4E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7" name="Picture 29" descr="Text&#10;&#10;Description automatically generated">
            <a:extLst>
              <a:ext uri="{FF2B5EF4-FFF2-40B4-BE49-F238E27FC236}">
                <a16:creationId xmlns:a16="http://schemas.microsoft.com/office/drawing/2014/main" id="{2805D7F9-1C80-7264-AC52-DF0EA88C1E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539"/>
          <a:stretch/>
        </p:blipFill>
        <p:spPr bwMode="auto">
          <a:xfrm>
            <a:off x="407987" y="3761089"/>
            <a:ext cx="4402024" cy="202178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Grafik 7" descr="Chart, histogram&#10;&#10;Description automatically generated">
            <a:extLst>
              <a:ext uri="{FF2B5EF4-FFF2-40B4-BE49-F238E27FC236}">
                <a16:creationId xmlns:a16="http://schemas.microsoft.com/office/drawing/2014/main" id="{9CEC6866-9B12-5A01-0141-EE1B8F3D11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117" y="835329"/>
            <a:ext cx="5947896" cy="4947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9916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B8A219-8A1B-93A8-1310-8D4923E86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Collection - Twee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F362A4-E28C-645E-8B70-C90697C6A7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Twitter API v2 – Academic Access</a:t>
            </a:r>
          </a:p>
          <a:p>
            <a:r>
              <a:rPr lang="de-DE" dirty="0"/>
              <a:t>Search-term: Crypto &amp; Ticker</a:t>
            </a:r>
          </a:p>
          <a:p>
            <a:r>
              <a:rPr lang="de-DE" dirty="0" err="1"/>
              <a:t>Group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hourly</a:t>
            </a:r>
            <a:r>
              <a:rPr lang="de-DE" dirty="0"/>
              <a:t> </a:t>
            </a:r>
            <a:r>
              <a:rPr lang="de-DE" dirty="0" err="1"/>
              <a:t>segments</a:t>
            </a:r>
            <a:endParaRPr lang="de-DE" dirty="0"/>
          </a:p>
          <a:p>
            <a:r>
              <a:rPr lang="de-DE" dirty="0"/>
              <a:t>Public </a:t>
            </a:r>
            <a:r>
              <a:rPr lang="de-DE" dirty="0" err="1"/>
              <a:t>metrics</a:t>
            </a:r>
            <a:r>
              <a:rPr lang="de-DE" dirty="0"/>
              <a:t> also </a:t>
            </a:r>
            <a:r>
              <a:rPr lang="de-DE" dirty="0" err="1"/>
              <a:t>fetched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339109-4B93-3589-F01E-0000EFE226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4D42F1-986B-4A40-3CC2-F61DE67A6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462CE0-3993-0F99-2E47-C97207446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6638620A-42E4-F769-AEE7-E4139D1A7F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0207" y="2276475"/>
            <a:ext cx="6220357" cy="3249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4363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16040C-3C05-EE1D-5A81-1A90D8CBD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Transformation - Datafram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864E1-3C3E-12D5-3695-735AC78D14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Comprised</a:t>
            </a:r>
            <a:r>
              <a:rPr lang="de-DE" dirty="0"/>
              <a:t> </a:t>
            </a:r>
            <a:r>
              <a:rPr lang="de-DE" dirty="0" err="1"/>
              <a:t>of</a:t>
            </a:r>
            <a:endParaRPr lang="de-DE" dirty="0"/>
          </a:p>
          <a:p>
            <a:pPr lvl="1"/>
            <a:r>
              <a:rPr lang="de-DE" dirty="0"/>
              <a:t>Tweets</a:t>
            </a:r>
          </a:p>
          <a:p>
            <a:pPr lvl="1"/>
            <a:r>
              <a:rPr lang="de-DE" dirty="0"/>
              <a:t>Price Data</a:t>
            </a:r>
          </a:p>
          <a:p>
            <a:pPr lvl="1"/>
            <a:r>
              <a:rPr lang="de-DE" dirty="0" err="1"/>
              <a:t>Statistics</a:t>
            </a:r>
            <a:endParaRPr lang="de-DE" dirty="0"/>
          </a:p>
          <a:p>
            <a:pPr lvl="2"/>
            <a:r>
              <a:rPr lang="de-DE" dirty="0"/>
              <a:t>The </a:t>
            </a:r>
            <a:r>
              <a:rPr lang="de-DE" dirty="0" err="1"/>
              <a:t>averages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liding</a:t>
            </a:r>
            <a:r>
              <a:rPr lang="de-DE" dirty="0"/>
              <a:t> </a:t>
            </a:r>
            <a:r>
              <a:rPr lang="de-DE" dirty="0" err="1"/>
              <a:t>window</a:t>
            </a:r>
            <a:endParaRPr lang="de-DE" dirty="0"/>
          </a:p>
          <a:p>
            <a:r>
              <a:rPr lang="de-DE" dirty="0" err="1"/>
              <a:t>Represents</a:t>
            </a:r>
            <a:r>
              <a:rPr lang="de-DE" dirty="0"/>
              <a:t> 1 </a:t>
            </a:r>
            <a:r>
              <a:rPr lang="de-DE" dirty="0" err="1"/>
              <a:t>h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activity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19EA535-B685-49B6-F719-1263A42C0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1C744E-6048-5EB1-D545-194ADF3F5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3434B9-B512-3E4B-9F1F-20758E88F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3FDBFD16-3A10-8708-8BD9-F969DCB41F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7058" y="1332185"/>
            <a:ext cx="5446955" cy="436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720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F7ABF-B9FC-38F6-B0CB-B18D500DC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erequisi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BA2BE5-77B0-74F8-854C-EE17B15398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b="1" dirty="0"/>
              <a:t>Velocity</a:t>
            </a:r>
          </a:p>
          <a:p>
            <a:pPr lvl="1"/>
            <a:r>
              <a:rPr lang="de-DE" dirty="0" err="1"/>
              <a:t>Represents</a:t>
            </a:r>
            <a:r>
              <a:rPr lang="de-DE" dirty="0"/>
              <a:t> </a:t>
            </a:r>
            <a:r>
              <a:rPr lang="de-DE" dirty="0" err="1"/>
              <a:t>trading</a:t>
            </a:r>
            <a:r>
              <a:rPr lang="de-DE" dirty="0"/>
              <a:t> </a:t>
            </a:r>
            <a:r>
              <a:rPr lang="de-DE" dirty="0" err="1"/>
              <a:t>activity</a:t>
            </a:r>
            <a:endParaRPr lang="de-DE" dirty="0"/>
          </a:p>
          <a:p>
            <a:pPr lvl="1"/>
            <a:endParaRPr lang="de-DE" dirty="0"/>
          </a:p>
          <a:p>
            <a:r>
              <a:rPr lang="de-DE" b="1" dirty="0"/>
              <a:t>Magnitude</a:t>
            </a:r>
          </a:p>
          <a:p>
            <a:pPr lvl="1"/>
            <a:r>
              <a:rPr lang="de-DE" dirty="0" err="1"/>
              <a:t>Compares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veloc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verage</a:t>
            </a:r>
            <a:endParaRPr lang="de-DE" dirty="0"/>
          </a:p>
          <a:p>
            <a:pPr lvl="1"/>
            <a:endParaRPr lang="de-DE" dirty="0"/>
          </a:p>
          <a:p>
            <a:r>
              <a:rPr lang="de-DE" b="1" dirty="0"/>
              <a:t>Magnitude Attributable </a:t>
            </a:r>
            <a:r>
              <a:rPr lang="de-DE" b="1" dirty="0" err="1"/>
              <a:t>to</a:t>
            </a:r>
            <a:r>
              <a:rPr lang="de-DE" b="1" dirty="0"/>
              <a:t> external </a:t>
            </a:r>
            <a:r>
              <a:rPr lang="de-DE" b="1" dirty="0" err="1"/>
              <a:t>factors</a:t>
            </a:r>
            <a:r>
              <a:rPr lang="de-DE" b="1" dirty="0"/>
              <a:t> (MEF)</a:t>
            </a:r>
          </a:p>
          <a:p>
            <a:pPr lvl="1"/>
            <a:r>
              <a:rPr lang="de-DE" dirty="0"/>
              <a:t>Magnitude </a:t>
            </a:r>
            <a:r>
              <a:rPr lang="de-DE" dirty="0" err="1"/>
              <a:t>account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Bitcoins </a:t>
            </a:r>
            <a:r>
              <a:rPr lang="de-DE" dirty="0" err="1"/>
              <a:t>movement</a:t>
            </a:r>
            <a:br>
              <a:rPr lang="de-DE" dirty="0"/>
            </a:br>
            <a:endParaRPr lang="de-DE" dirty="0"/>
          </a:p>
          <a:p>
            <a:r>
              <a:rPr lang="de-DE" b="1" dirty="0"/>
              <a:t>Engagement Share </a:t>
            </a:r>
            <a:r>
              <a:rPr lang="de-DE" b="1" dirty="0" err="1"/>
              <a:t>of</a:t>
            </a:r>
            <a:r>
              <a:rPr lang="de-DE" b="1" dirty="0"/>
              <a:t> a Tweet (ES)</a:t>
            </a:r>
          </a:p>
          <a:p>
            <a:pPr lvl="1"/>
            <a:r>
              <a:rPr lang="de-DE" dirty="0"/>
              <a:t>The </a:t>
            </a:r>
            <a:r>
              <a:rPr lang="de-DE" dirty="0" err="1"/>
              <a:t>percenta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kes</a:t>
            </a:r>
            <a:r>
              <a:rPr lang="de-DE" dirty="0"/>
              <a:t>/</a:t>
            </a:r>
            <a:r>
              <a:rPr lang="de-DE" dirty="0" err="1"/>
              <a:t>retwee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1 tweet in </a:t>
            </a:r>
            <a:r>
              <a:rPr lang="de-DE" dirty="0" err="1"/>
              <a:t>rela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ll </a:t>
            </a:r>
            <a:r>
              <a:rPr lang="de-DE" dirty="0" err="1"/>
              <a:t>twee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hour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0ACC71-A9B9-CD7A-CAF6-A93BC0403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50FA7E-4111-6E4B-BF83-5264C4B24E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939055-D4E5-624E-D1FF-FB8BC6D21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F65A32E-6A1E-5353-1961-FF5CD00837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1692" y="2162624"/>
            <a:ext cx="7308321" cy="83633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A129C78-B73F-400D-064F-7391B4DA34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7179" y="3192582"/>
            <a:ext cx="4899859" cy="831806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A5F647B-F395-B379-8AF9-8DAB339214C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582"/>
          <a:stretch/>
        </p:blipFill>
        <p:spPr>
          <a:xfrm>
            <a:off x="6386455" y="4303059"/>
            <a:ext cx="3788013" cy="513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8867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5E641E-F7F6-CAF7-52CF-D6D720000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Datase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9A5F90B-6C2E-36DA-CFF0-1B2D4A47B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D53009-2D99-9334-69C7-991CC6CF5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D3EC57-7FD1-AB2F-5B4C-E2226E286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7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F474A7-5B74-6149-B95F-8FE9FF08AD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3092" y="438013"/>
            <a:ext cx="7500921" cy="552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5078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B0D734-20B7-D169-F987-F3C48EFA6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lcul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I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52CFBD-BF09-D19B-8901-8840D4B6DD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Median Magnitude</a:t>
            </a:r>
            <a:br>
              <a:rPr lang="de-DE" b="1" dirty="0"/>
            </a:br>
            <a:endParaRPr lang="de-DE" b="1" dirty="0"/>
          </a:p>
          <a:p>
            <a:r>
              <a:rPr lang="de-DE" b="1" dirty="0"/>
              <a:t>Median Engagement Share</a:t>
            </a:r>
            <a:br>
              <a:rPr lang="de-DE" b="1" dirty="0"/>
            </a:br>
            <a:endParaRPr lang="de-DE" b="1" dirty="0"/>
          </a:p>
          <a:p>
            <a:r>
              <a:rPr lang="de-DE" b="1" dirty="0"/>
              <a:t>Median Attributable Magnitude</a:t>
            </a:r>
            <a:br>
              <a:rPr lang="de-DE" b="1" dirty="0"/>
            </a:br>
            <a:br>
              <a:rPr lang="de-DE" b="1" dirty="0"/>
            </a:br>
            <a:endParaRPr lang="de-DE" b="1" dirty="0"/>
          </a:p>
          <a:p>
            <a:r>
              <a:rPr lang="de-DE" b="1" dirty="0"/>
              <a:t>AIS</a:t>
            </a:r>
            <a:br>
              <a:rPr lang="de-DE" b="1" dirty="0"/>
            </a:br>
            <a:br>
              <a:rPr lang="de-DE" b="1" dirty="0"/>
            </a:br>
            <a:endParaRPr lang="de-DE" b="1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2D9C7D-AADF-2432-1FE8-72F1BEFE7F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08B31A-8DF4-EED1-498D-07C450679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6626BE-A7B7-C19F-F04D-D0A2CFF44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8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940CD50-6996-65A4-2664-B2A9217ACE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8741" y="2072065"/>
            <a:ext cx="4182059" cy="66684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C203851-0A24-4C01-BA8F-EE01A66C2E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3530" y="2943318"/>
            <a:ext cx="3972479" cy="56205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A030FC8-188A-A354-FC47-813027B7BC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7398" y="3713849"/>
            <a:ext cx="3524742" cy="54300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DFA9CA6-52F4-E4E1-81EA-0966F9535F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8609" y="4712758"/>
            <a:ext cx="2172003" cy="63826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BF366CD-AC5B-865C-58AA-110F8660D1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98156" y="4552817"/>
            <a:ext cx="3359224" cy="711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8593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EAF7F-DC79-1AA6-41F0-900A945B34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ABC75F-6692-FF4F-6BBB-8C66F6AFB9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Compare</a:t>
            </a:r>
            <a:r>
              <a:rPr lang="de-DE" dirty="0"/>
              <a:t> </a:t>
            </a:r>
            <a:r>
              <a:rPr lang="de-DE" dirty="0" err="1"/>
              <a:t>buy</a:t>
            </a:r>
            <a:r>
              <a:rPr lang="de-DE" dirty="0"/>
              <a:t>-and-hold </a:t>
            </a:r>
            <a:r>
              <a:rPr lang="de-DE" dirty="0" err="1"/>
              <a:t>investo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IS-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trader</a:t>
            </a:r>
            <a:endParaRPr lang="de-DE" dirty="0"/>
          </a:p>
          <a:p>
            <a:r>
              <a:rPr lang="de-DE" dirty="0"/>
              <a:t>Same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capital</a:t>
            </a:r>
            <a:r>
              <a:rPr lang="de-DE" dirty="0"/>
              <a:t>, same </a:t>
            </a:r>
            <a:r>
              <a:rPr lang="de-DE" dirty="0" err="1"/>
              <a:t>timeframe</a:t>
            </a:r>
            <a:r>
              <a:rPr lang="de-DE" dirty="0"/>
              <a:t> (Jan 5, 2021 – </a:t>
            </a:r>
            <a:r>
              <a:rPr lang="de-DE" dirty="0" err="1"/>
              <a:t>Dec</a:t>
            </a:r>
            <a:r>
              <a:rPr lang="de-DE" dirty="0"/>
              <a:t> 31, 2021)</a:t>
            </a:r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ECF48EF-CF4E-6026-49E1-F1E3C3D19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313937-CD80-E824-0C3B-D1F919E6E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D2ACC7-012A-CA5A-2217-8411FA23B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19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6ADF8CE-80F2-42B6-002B-539F5EB86F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965" y="3168819"/>
            <a:ext cx="9489048" cy="2887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50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2DCD79-C7FE-4410-A088-FC29B2EBF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24B9C10-54B0-9889-7ED2-B7C5B619A2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6" y="2458724"/>
            <a:ext cx="8532813" cy="3673475"/>
          </a:xfrm>
        </p:spPr>
        <p:txBody>
          <a:bodyPr/>
          <a:lstStyle/>
          <a:p>
            <a:r>
              <a:rPr lang="de-DE" dirty="0"/>
              <a:t>Background &amp; </a:t>
            </a:r>
            <a:r>
              <a:rPr lang="de-DE" dirty="0" err="1"/>
              <a:t>Introduction</a:t>
            </a:r>
            <a:endParaRPr lang="de-DE" dirty="0"/>
          </a:p>
          <a:p>
            <a:r>
              <a:rPr lang="de-DE" dirty="0"/>
              <a:t>Problem Description</a:t>
            </a:r>
          </a:p>
          <a:p>
            <a:r>
              <a:rPr lang="de-DE" dirty="0"/>
              <a:t>Goals and Research Questions</a:t>
            </a:r>
          </a:p>
          <a:p>
            <a:r>
              <a:rPr lang="de-DE" dirty="0" err="1"/>
              <a:t>Systematic</a:t>
            </a:r>
            <a:r>
              <a:rPr lang="de-DE" dirty="0"/>
              <a:t> </a:t>
            </a:r>
            <a:r>
              <a:rPr lang="de-DE" dirty="0" err="1"/>
              <a:t>Literature</a:t>
            </a:r>
            <a:r>
              <a:rPr lang="de-DE" dirty="0"/>
              <a:t> Review &amp; </a:t>
            </a:r>
            <a:r>
              <a:rPr lang="de-DE" dirty="0" err="1"/>
              <a:t>Discussion</a:t>
            </a:r>
            <a:endParaRPr lang="de-DE" dirty="0"/>
          </a:p>
          <a:p>
            <a:r>
              <a:rPr lang="de-DE" dirty="0" err="1"/>
              <a:t>Our</a:t>
            </a:r>
            <a:r>
              <a:rPr lang="de-DE" dirty="0"/>
              <a:t> Approach – </a:t>
            </a:r>
            <a:r>
              <a:rPr lang="de-DE" dirty="0" err="1"/>
              <a:t>the</a:t>
            </a:r>
            <a:r>
              <a:rPr lang="de-DE" dirty="0"/>
              <a:t> AIS</a:t>
            </a:r>
          </a:p>
          <a:p>
            <a:r>
              <a:rPr lang="de-DE" dirty="0"/>
              <a:t>Evaluation and Analysis</a:t>
            </a:r>
          </a:p>
          <a:p>
            <a:r>
              <a:rPr lang="de-DE" dirty="0" err="1"/>
              <a:t>Conclusion</a:t>
            </a:r>
            <a:r>
              <a:rPr lang="de-DE" dirty="0"/>
              <a:t> and </a:t>
            </a:r>
            <a:r>
              <a:rPr lang="de-DE" dirty="0" err="1"/>
              <a:t>Discussio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B9DB66-F370-6C06-4075-A8B652181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1E60F-A66C-4849-B505-3F1AAD1C795A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44A83BF-FFB7-06B9-8373-C97D79207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3733038-ADA2-3D44-1BD7-98C4DC70F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46048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6EE3D-3010-88C7-9386-51B8DF7F7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ading </a:t>
            </a:r>
            <a:r>
              <a:rPr lang="de-DE" dirty="0" err="1"/>
              <a:t>Algorithm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1BCB00-42A9-ED84-D035-C1C083CAD6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Buys</a:t>
            </a:r>
            <a:r>
              <a:rPr lang="de-DE" dirty="0"/>
              <a:t>, </a:t>
            </a:r>
            <a:r>
              <a:rPr lang="de-DE" dirty="0" err="1"/>
              <a:t>whenever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op 8 </a:t>
            </a:r>
            <a:r>
              <a:rPr lang="de-DE" dirty="0" err="1"/>
              <a:t>users</a:t>
            </a:r>
            <a:r>
              <a:rPr lang="de-DE" dirty="0"/>
              <a:t> (</a:t>
            </a:r>
            <a:r>
              <a:rPr lang="de-DE" dirty="0" err="1"/>
              <a:t>by</a:t>
            </a:r>
            <a:r>
              <a:rPr lang="de-DE" dirty="0"/>
              <a:t> AIS) </a:t>
            </a:r>
            <a:r>
              <a:rPr lang="de-DE" dirty="0" err="1"/>
              <a:t>tweets</a:t>
            </a:r>
            <a:endParaRPr lang="de-DE" dirty="0"/>
          </a:p>
          <a:p>
            <a:r>
              <a:rPr lang="de-DE" dirty="0"/>
              <a:t>Holds </a:t>
            </a:r>
            <a:r>
              <a:rPr lang="de-DE" dirty="0" err="1"/>
              <a:t>for</a:t>
            </a:r>
            <a:r>
              <a:rPr lang="de-DE" dirty="0"/>
              <a:t> different </a:t>
            </a:r>
            <a:r>
              <a:rPr lang="de-DE" dirty="0" err="1"/>
              <a:t>durations</a:t>
            </a:r>
            <a:r>
              <a:rPr lang="de-DE" dirty="0"/>
              <a:t> and </a:t>
            </a:r>
            <a:r>
              <a:rPr lang="de-DE" dirty="0" err="1"/>
              <a:t>sells</a:t>
            </a:r>
            <a:r>
              <a:rPr lang="de-DE" dirty="0"/>
              <a:t> at </a:t>
            </a:r>
            <a:r>
              <a:rPr lang="de-DE" dirty="0" err="1"/>
              <a:t>the</a:t>
            </a:r>
            <a:r>
              <a:rPr lang="de-DE" dirty="0"/>
              <a:t> en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day</a:t>
            </a:r>
            <a:endParaRPr lang="de-DE" dirty="0"/>
          </a:p>
          <a:p>
            <a:pPr lvl="1"/>
            <a:r>
              <a:rPr lang="de-DE" dirty="0"/>
              <a:t>Same </a:t>
            </a:r>
            <a:r>
              <a:rPr lang="de-DE" dirty="0" err="1"/>
              <a:t>day</a:t>
            </a:r>
            <a:endParaRPr lang="de-DE" dirty="0"/>
          </a:p>
          <a:p>
            <a:pPr lvl="1"/>
            <a:r>
              <a:rPr lang="de-DE" dirty="0"/>
              <a:t>1 </a:t>
            </a:r>
            <a:r>
              <a:rPr lang="de-DE" dirty="0" err="1"/>
              <a:t>day</a:t>
            </a:r>
            <a:endParaRPr lang="de-DE" dirty="0"/>
          </a:p>
          <a:p>
            <a:pPr lvl="1"/>
            <a:r>
              <a:rPr lang="de-DE" dirty="0"/>
              <a:t>2 </a:t>
            </a:r>
            <a:r>
              <a:rPr lang="de-DE" dirty="0" err="1"/>
              <a:t>days</a:t>
            </a:r>
            <a:endParaRPr lang="de-DE" dirty="0"/>
          </a:p>
          <a:p>
            <a:pPr lvl="1"/>
            <a:r>
              <a:rPr lang="de-DE" dirty="0"/>
              <a:t>3 </a:t>
            </a:r>
            <a:r>
              <a:rPr lang="de-DE" dirty="0" err="1"/>
              <a:t>days</a:t>
            </a:r>
            <a:endParaRPr lang="de-DE" dirty="0"/>
          </a:p>
          <a:p>
            <a:pPr lvl="1"/>
            <a:r>
              <a:rPr lang="de-DE" dirty="0"/>
              <a:t>1 </a:t>
            </a:r>
            <a:r>
              <a:rPr lang="de-DE" dirty="0" err="1"/>
              <a:t>week</a:t>
            </a:r>
            <a:endParaRPr lang="de-DE" dirty="0"/>
          </a:p>
          <a:p>
            <a:pPr lvl="1"/>
            <a:r>
              <a:rPr lang="de-DE" dirty="0"/>
              <a:t>2 </a:t>
            </a:r>
            <a:r>
              <a:rPr lang="de-DE" dirty="0" err="1"/>
              <a:t>weeks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7A7051-A4DA-BE7C-5908-A16E30B54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5579CE8-11F5-4878-B616-85075AB303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BFAEC5-8A8C-F0EF-2054-AA7621599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87090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7C3687-87B4-7BBF-997A-5AD673083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1332185"/>
            <a:ext cx="8532813" cy="836339"/>
          </a:xfrm>
        </p:spPr>
        <p:txBody>
          <a:bodyPr anchor="b">
            <a:normAutofit/>
          </a:bodyPr>
          <a:lstStyle/>
          <a:p>
            <a:r>
              <a:rPr lang="de-DE" dirty="0" err="1"/>
              <a:t>Optimizing</a:t>
            </a:r>
            <a:r>
              <a:rPr lang="de-DE" dirty="0"/>
              <a:t> Parameters – </a:t>
            </a:r>
            <a:r>
              <a:rPr lang="de-DE" dirty="0" err="1"/>
              <a:t>Sliding</a:t>
            </a:r>
            <a:r>
              <a:rPr lang="de-DE" dirty="0"/>
              <a:t> </a:t>
            </a:r>
            <a:r>
              <a:rPr lang="de-DE" dirty="0" err="1"/>
              <a:t>Window</a:t>
            </a:r>
            <a:r>
              <a:rPr lang="de-DE" dirty="0"/>
              <a:t> Size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29B9C01-1DF8-65FB-F43C-D090A267CC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7989" y="2897549"/>
            <a:ext cx="3978823" cy="1028471"/>
          </a:xfrm>
        </p:spPr>
        <p:txBody>
          <a:bodyPr>
            <a:normAutofit lnSpcReduction="10000"/>
          </a:bodyPr>
          <a:lstStyle/>
          <a:p>
            <a:r>
              <a:rPr lang="en-US" dirty="0"/>
              <a:t>Optimal Size: 48</a:t>
            </a:r>
          </a:p>
          <a:p>
            <a:r>
              <a:rPr lang="en-US" dirty="0"/>
              <a:t>Strikes balance in terms of sensitivity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4AB5BD0-225E-68C7-98AF-85F9FB1268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7989" y="6422400"/>
            <a:ext cx="720000" cy="36512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53ECA41A-EDB7-8145-BDBB-63DC81B01365}" type="datetime1">
              <a:rPr lang="en-US" smtClean="0"/>
              <a:pPr>
                <a:spcAft>
                  <a:spcPts val="600"/>
                </a:spcAft>
              </a:pPr>
              <a:t>11/28/2022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DBFFBA-237C-7644-71E2-B6ADB3B60C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9614" y="6422400"/>
            <a:ext cx="7801186" cy="36512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Kevin Miller - 01638797 | kevin.miller@univie.ac.at</a:t>
            </a:r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E58711E-10D7-C0DB-8FA1-8793F53056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6013" y="6422400"/>
            <a:ext cx="828000" cy="36512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Page </a:t>
            </a:r>
            <a:fld id="{05A5AE1F-4813-4D0A-B870-8FB3219A4125}" type="slidenum">
              <a:rPr lang="en-GB" smtClean="0"/>
              <a:pPr>
                <a:spcAft>
                  <a:spcPts val="600"/>
                </a:spcAft>
              </a:pPr>
              <a:t>21</a:t>
            </a:fld>
            <a:endParaRPr lang="en-GB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53D6327D-5E63-C7FA-ADC1-C51D8654F5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570623"/>
            <a:ext cx="2326037" cy="2710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0183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B688E5-471E-330D-58BE-8B98E1735E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ptimizing</a:t>
            </a:r>
            <a:r>
              <a:rPr lang="de-DE" dirty="0"/>
              <a:t> Parameters – Minimum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wee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C64A7F0-E743-66AB-8198-509E25F931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2868146"/>
            <a:ext cx="4291177" cy="2413002"/>
          </a:xfrm>
        </p:spPr>
        <p:txBody>
          <a:bodyPr/>
          <a:lstStyle/>
          <a:p>
            <a:r>
              <a:rPr lang="de-DE" dirty="0"/>
              <a:t>Lower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better</a:t>
            </a:r>
            <a:endParaRPr lang="de-DE" dirty="0"/>
          </a:p>
          <a:p>
            <a:r>
              <a:rPr lang="de-DE" dirty="0"/>
              <a:t>Optimal Value: 3</a:t>
            </a:r>
          </a:p>
          <a:p>
            <a:r>
              <a:rPr lang="de-DE" dirty="0"/>
              <a:t>Engagement Share </a:t>
            </a:r>
            <a:r>
              <a:rPr lang="de-DE" dirty="0" err="1"/>
              <a:t>handles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artificially</a:t>
            </a:r>
            <a:r>
              <a:rPr lang="de-DE" dirty="0"/>
              <a:t> </a:t>
            </a:r>
            <a:r>
              <a:rPr lang="de-DE" dirty="0" err="1"/>
              <a:t>limiting</a:t>
            </a:r>
            <a:r>
              <a:rPr lang="de-DE" dirty="0"/>
              <a:t> </a:t>
            </a:r>
            <a:r>
              <a:rPr lang="de-DE" dirty="0" err="1"/>
              <a:t>userbase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4F5A968-3AA4-97B8-A7B0-5CAE9786DB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192DA-0396-EE42-A01E-0D76DB7448C4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07DF8-28F7-8425-D77F-F51CC7B14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2380A6-F47D-A485-9BC3-F17485205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2</a:t>
            </a:fld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2FA132C-C8FB-4E28-5EE3-264E2A7F60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8411" y="2666747"/>
            <a:ext cx="6495602" cy="30309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29862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FADAE-34E9-C047-FADC-9FE9670CC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ptimizing</a:t>
            </a:r>
            <a:r>
              <a:rPr lang="de-DE" dirty="0"/>
              <a:t> Parameters – </a:t>
            </a:r>
            <a:r>
              <a:rPr lang="de-DE" dirty="0" err="1"/>
              <a:t>Breakout</a:t>
            </a:r>
            <a:r>
              <a:rPr lang="de-DE" dirty="0"/>
              <a:t> Threshold </a:t>
            </a:r>
            <a:r>
              <a:rPr lang="de-DE" dirty="0" err="1"/>
              <a:t>Factor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6027F2A-D928-A01E-1D65-0E7FC0315D7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2748925"/>
            <a:ext cx="4336135" cy="3673475"/>
          </a:xfrm>
        </p:spPr>
        <p:txBody>
          <a:bodyPr/>
          <a:lstStyle/>
          <a:p>
            <a:r>
              <a:rPr lang="de-DE" dirty="0"/>
              <a:t>Lower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better</a:t>
            </a:r>
            <a:endParaRPr lang="de-DE" dirty="0"/>
          </a:p>
          <a:p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indicate</a:t>
            </a:r>
            <a:r>
              <a:rPr lang="de-DE" dirty="0"/>
              <a:t>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  <a:p>
            <a:r>
              <a:rPr lang="de-DE" dirty="0" err="1"/>
              <a:t>Might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ru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enerally</a:t>
            </a:r>
            <a:r>
              <a:rPr lang="de-DE" dirty="0"/>
              <a:t> </a:t>
            </a:r>
            <a:r>
              <a:rPr lang="de-DE" dirty="0" err="1"/>
              <a:t>bullish</a:t>
            </a:r>
            <a:r>
              <a:rPr lang="de-DE" dirty="0"/>
              <a:t> </a:t>
            </a:r>
            <a:r>
              <a:rPr lang="de-DE" dirty="0" err="1"/>
              <a:t>markets</a:t>
            </a:r>
            <a:endParaRPr lang="de-DE" dirty="0"/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exten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imeframe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9F3DAA3-DA87-7034-4AD7-3AAFF752D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192DA-0396-EE42-A01E-0D76DB7448C4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9412EF1-80E2-CA2C-CCBE-50990A9CC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B24277A-4776-DF1A-994B-64A0D91CE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3</a:t>
            </a:fld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4558D59-AF4D-5A5C-390B-9BE477EEB9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4303" y="2547878"/>
            <a:ext cx="1899950" cy="2977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5168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F86B3B-92DE-9DDD-C799-ADCA4899E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imeframe</a:t>
            </a:r>
            <a:r>
              <a:rPr lang="de-DE" dirty="0"/>
              <a:t>: Jan 5 – </a:t>
            </a:r>
            <a:r>
              <a:rPr lang="de-DE" dirty="0" err="1"/>
              <a:t>Dec</a:t>
            </a:r>
            <a:r>
              <a:rPr lang="de-DE" dirty="0"/>
              <a:t> 31, 2021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39C1A44-FBA2-40FB-0F0F-ADA9F9944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192DA-0396-EE42-A01E-0D76DB7448C4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C70819-E3BB-7553-424D-E80C1768B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F1168E-1B03-1064-8777-3D61BB3BC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4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72FABB8-E353-8B0C-C016-D7625B5F39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07" y="2397499"/>
            <a:ext cx="7542922" cy="3519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1681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EBBDEB-D779-988F-6645-0056A2AB6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alu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IS on a </a:t>
            </a:r>
            <a:r>
              <a:rPr lang="de-DE" dirty="0" err="1"/>
              <a:t>longer</a:t>
            </a:r>
            <a:r>
              <a:rPr lang="de-DE" dirty="0"/>
              <a:t> </a:t>
            </a:r>
            <a:r>
              <a:rPr lang="de-DE" dirty="0" err="1"/>
              <a:t>timeframe</a:t>
            </a:r>
            <a:r>
              <a:rPr lang="de-DE" dirty="0"/>
              <a:t> - Dogecoi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6796FD3-4F36-D45B-832E-2DD400D74D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192DA-0396-EE42-A01E-0D76DB7448C4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4002C4-83FF-D2BC-024D-D8D0F3818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57E4412-DF0F-E160-654A-A7B4AECEC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5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B29F491-B344-A566-7CD1-DF5A82364F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994" y="2560230"/>
            <a:ext cx="10662011" cy="3244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4413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38508-F030-C742-E0AF-125C00DE0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alu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IS on a </a:t>
            </a:r>
            <a:r>
              <a:rPr lang="de-DE" dirty="0" err="1"/>
              <a:t>longer</a:t>
            </a:r>
            <a:r>
              <a:rPr lang="de-DE" dirty="0"/>
              <a:t> </a:t>
            </a:r>
            <a:r>
              <a:rPr lang="de-DE" dirty="0" err="1"/>
              <a:t>timeframe</a:t>
            </a:r>
            <a:r>
              <a:rPr lang="de-DE" dirty="0"/>
              <a:t> - Bitcoi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BB6EC7B-D9B3-3215-C3EB-D1BFA7738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192DA-0396-EE42-A01E-0D76DB7448C4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64191A8-6C30-E898-CABE-3A75E981FD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EE664C9-9257-DCAD-D9AB-7555B0F18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6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581C531-7EB0-0DFF-CC54-BB51A5408D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614" y="2660015"/>
            <a:ext cx="9418566" cy="286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4589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394302-3DC5-84B8-EF6A-BBCEFCD6B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7390" y="3010830"/>
            <a:ext cx="8532813" cy="836339"/>
          </a:xfrm>
        </p:spPr>
        <p:txBody>
          <a:bodyPr/>
          <a:lstStyle/>
          <a:p>
            <a:r>
              <a:rPr lang="de-DE" dirty="0"/>
              <a:t>The Client </a:t>
            </a:r>
            <a:r>
              <a:rPr lang="de-DE" dirty="0" err="1"/>
              <a:t>Application</a:t>
            </a:r>
            <a:r>
              <a:rPr lang="de-DE" dirty="0"/>
              <a:t> - Showcas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91FD1DB-6582-A385-2159-B0E181758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192DA-0396-EE42-A01E-0D76DB7448C4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09B3A8-47C0-4D1C-832A-1A1605CB7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7243CE9-9561-8061-CEA5-20FB304B3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03072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482A93-B64F-84F8-4A6A-F49E492EF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FF549D-3129-14D5-5A3F-14D8FBCAD5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2852739"/>
            <a:ext cx="5543633" cy="3673475"/>
          </a:xfrm>
        </p:spPr>
        <p:txBody>
          <a:bodyPr/>
          <a:lstStyle/>
          <a:p>
            <a:r>
              <a:rPr lang="de-DE" dirty="0"/>
              <a:t>Gap in Research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opinion</a:t>
            </a:r>
            <a:r>
              <a:rPr lang="de-DE" dirty="0"/>
              <a:t> </a:t>
            </a:r>
            <a:r>
              <a:rPr lang="de-DE" dirty="0" err="1"/>
              <a:t>leaders</a:t>
            </a:r>
            <a:endParaRPr lang="de-DE" dirty="0"/>
          </a:p>
          <a:p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possibl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n </a:t>
            </a:r>
            <a:r>
              <a:rPr lang="de-DE" dirty="0" err="1"/>
              <a:t>effective</a:t>
            </a:r>
            <a:r>
              <a:rPr lang="de-DE" dirty="0"/>
              <a:t>, </a:t>
            </a:r>
            <a:r>
              <a:rPr lang="de-DE" dirty="0" err="1"/>
              <a:t>understandable</a:t>
            </a:r>
            <a:r>
              <a:rPr lang="de-DE" dirty="0"/>
              <a:t> and </a:t>
            </a:r>
            <a:r>
              <a:rPr lang="de-DE" dirty="0" err="1"/>
              <a:t>replicable</a:t>
            </a:r>
            <a:r>
              <a:rPr lang="de-DE" dirty="0"/>
              <a:t> </a:t>
            </a:r>
            <a:r>
              <a:rPr lang="de-DE" dirty="0" err="1"/>
              <a:t>metric</a:t>
            </a:r>
            <a:endParaRPr lang="de-DE" dirty="0"/>
          </a:p>
          <a:p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applic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sset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display</a:t>
            </a:r>
            <a:r>
              <a:rPr lang="de-DE" dirty="0"/>
              <a:t> strong Twitter </a:t>
            </a:r>
            <a:r>
              <a:rPr lang="de-DE" dirty="0" err="1"/>
              <a:t>correlation</a:t>
            </a:r>
            <a:endParaRPr lang="de-DE" dirty="0"/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85722F-D44D-F217-0137-A13B867E1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192DA-0396-EE42-A01E-0D76DB7448C4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639922-33EE-EB2C-C44F-15609E92F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8CC7413-FDBF-BDA0-9CDB-89ED70B26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49551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3C1066-6AEF-1DB5-F5D7-9C925EF8D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ture Wor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122656-C6BD-6B18-D92F-4F55CC494A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2938098"/>
            <a:ext cx="5543633" cy="3673475"/>
          </a:xfrm>
        </p:spPr>
        <p:txBody>
          <a:bodyPr/>
          <a:lstStyle/>
          <a:p>
            <a:r>
              <a:rPr lang="de-DE" dirty="0"/>
              <a:t>Experiment </a:t>
            </a:r>
            <a:r>
              <a:rPr lang="de-DE" dirty="0" err="1"/>
              <a:t>with</a:t>
            </a:r>
            <a:r>
              <a:rPr lang="de-DE" dirty="0"/>
              <a:t> Sentiment Analysis</a:t>
            </a:r>
          </a:p>
          <a:p>
            <a:r>
              <a:rPr lang="de-DE" dirty="0" err="1"/>
              <a:t>Incorporate</a:t>
            </a:r>
            <a:r>
              <a:rPr lang="de-DE" dirty="0"/>
              <a:t> multiple </a:t>
            </a:r>
            <a:r>
              <a:rPr lang="de-DE" dirty="0" err="1"/>
              <a:t>assets</a:t>
            </a:r>
            <a:endParaRPr lang="de-DE" dirty="0"/>
          </a:p>
          <a:p>
            <a:r>
              <a:rPr lang="de-DE" dirty="0"/>
              <a:t>Study network </a:t>
            </a:r>
            <a:r>
              <a:rPr lang="de-DE" dirty="0" err="1"/>
              <a:t>effect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1BE6043-5B00-32B7-4D31-9727682B7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192DA-0396-EE42-A01E-0D76DB7448C4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056F797-4796-8CC8-D006-53A1CB731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8B9101-E12A-E7F6-34B2-3094D8182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8438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5B4193-1D83-FC9B-19C3-DCF2F9C18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T" dirty="0"/>
              <a:t>Background &amp; 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37C0E3-4225-3290-2829-8D2A417408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2658749"/>
            <a:ext cx="5688014" cy="3067091"/>
          </a:xfrm>
        </p:spPr>
        <p:txBody>
          <a:bodyPr/>
          <a:lstStyle/>
          <a:p>
            <a:r>
              <a:rPr lang="de-DE" dirty="0"/>
              <a:t>Twitter </a:t>
            </a:r>
            <a:r>
              <a:rPr lang="de-DE" dirty="0" err="1"/>
              <a:t>act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real-time </a:t>
            </a:r>
            <a:r>
              <a:rPr lang="de-DE" dirty="0" err="1"/>
              <a:t>primary</a:t>
            </a:r>
            <a:r>
              <a:rPr lang="de-DE" dirty="0"/>
              <a:t> </a:t>
            </a:r>
            <a:r>
              <a:rPr lang="de-DE" dirty="0" err="1"/>
              <a:t>news</a:t>
            </a:r>
            <a:r>
              <a:rPr lang="de-DE" dirty="0"/>
              <a:t> source</a:t>
            </a:r>
          </a:p>
          <a:p>
            <a:r>
              <a:rPr lang="en-AT" dirty="0"/>
              <a:t>Cryptocurrencies are highly volatile</a:t>
            </a:r>
          </a:p>
          <a:p>
            <a:r>
              <a:rPr lang="en-AT" dirty="0"/>
              <a:t>Some feature revolutionary technology</a:t>
            </a:r>
          </a:p>
          <a:p>
            <a:r>
              <a:rPr lang="en-AT" dirty="0"/>
              <a:t>Some are just speculation and hype</a:t>
            </a:r>
          </a:p>
          <a:p>
            <a:endParaRPr lang="en-A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EFFD0E-F1AC-82A9-E945-42C01B7DF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1E60F-A66C-4849-B505-3F1AAD1C795A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A8AEAC-D240-4850-B94B-3CA1C12B1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0C9DDB-FF73-895F-24C4-843FE94E40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73998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0ABA73-958D-4A67-A051-FBBAEDB68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974" y="2956554"/>
            <a:ext cx="8532813" cy="836339"/>
          </a:xfrm>
        </p:spPr>
        <p:txBody>
          <a:bodyPr/>
          <a:lstStyle/>
          <a:p>
            <a:r>
              <a:rPr lang="en-AT" sz="4400" dirty="0"/>
              <a:t>Questions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6BFFF-AC03-3DE1-477F-902720CACB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5974" y="4205392"/>
            <a:ext cx="11376026" cy="968170"/>
          </a:xfrm>
        </p:spPr>
        <p:txBody>
          <a:bodyPr/>
          <a:lstStyle/>
          <a:p>
            <a:pPr marL="0" indent="0">
              <a:buNone/>
            </a:pPr>
            <a:r>
              <a:rPr lang="en-AT" dirty="0"/>
              <a:t>Thank you for listening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EC8DF4-DAE7-4EC8-82EC-33148338DC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7408B0-8764-3635-B75C-E523C171BE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1AAF62-EDCF-578C-003A-AC47FC950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7574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3D973-8EFA-AA3C-EDBB-EE10C2718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T" dirty="0"/>
              <a:t>Dogecoin &amp; Elon Mus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44E66-AC09-6621-C6E7-317C260533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2458724"/>
            <a:ext cx="5688013" cy="3673475"/>
          </a:xfrm>
        </p:spPr>
        <p:txBody>
          <a:bodyPr/>
          <a:lstStyle/>
          <a:p>
            <a:r>
              <a:rPr lang="en-AT" dirty="0"/>
              <a:t>Dogecoin is a fork of a fork of Bitcoin</a:t>
            </a:r>
          </a:p>
          <a:p>
            <a:r>
              <a:rPr lang="en-AT" dirty="0"/>
              <a:t>Based on the then-popular Shiba Inu Doge Meme</a:t>
            </a:r>
          </a:p>
          <a:p>
            <a:r>
              <a:rPr lang="en-AT" dirty="0"/>
              <a:t>Developed as a Joke</a:t>
            </a:r>
          </a:p>
          <a:p>
            <a:r>
              <a:rPr lang="en-AT" dirty="0"/>
              <a:t>Went up 15.000% thanks to Elon Musks Twitter Activity</a:t>
            </a:r>
          </a:p>
          <a:p>
            <a:r>
              <a:rPr lang="en-AT" dirty="0"/>
              <a:t>from 0,0048$ to 0,74$, back to 0,08$</a:t>
            </a:r>
          </a:p>
          <a:p>
            <a:r>
              <a:rPr lang="en-AT" dirty="0"/>
              <a:t>1000$ -&gt; 152.000$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E3FD1A-46A9-7E8E-710C-83B6BA1DC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1E60F-A66C-4849-B505-3F1AAD1C795A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3BF622-DC5B-5E9F-E225-7DE7DD0684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73DFC-1EE8-F45C-A4C3-8EE1D7E08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97CBB3-A97F-BF9F-9053-E92A6BBA53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1104966"/>
            <a:ext cx="5853457" cy="40543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9B267AB-AA5C-A259-789C-5740784031C4}"/>
              </a:ext>
            </a:extLst>
          </p:cNvPr>
          <p:cNvSpPr txBox="1"/>
          <p:nvPr/>
        </p:nvSpPr>
        <p:spPr>
          <a:xfrm>
            <a:off x="7122942" y="5207153"/>
            <a:ext cx="50690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1400" dirty="0"/>
              <a:t>Dogecoin price action with weekly price cand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869BC8-7885-F07D-E981-8FC53A818CCE}"/>
              </a:ext>
            </a:extLst>
          </p:cNvPr>
          <p:cNvSpPr txBox="1"/>
          <p:nvPr/>
        </p:nvSpPr>
        <p:spPr>
          <a:xfrm>
            <a:off x="2947940" y="5870589"/>
            <a:ext cx="883607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“Live stock, index, futures, Forex and Bitcoin charts on </a:t>
            </a:r>
            <a:r>
              <a:rPr lang="en-GB" sz="1100" dirty="0" err="1"/>
              <a:t>TradingView</a:t>
            </a:r>
            <a:r>
              <a:rPr lang="en-GB" sz="1100" dirty="0"/>
              <a:t>,” </a:t>
            </a:r>
            <a:r>
              <a:rPr lang="en-GB" sz="1100" i="1" dirty="0" err="1"/>
              <a:t>TradingView</a:t>
            </a:r>
            <a:r>
              <a:rPr lang="en-GB" sz="1100" dirty="0"/>
              <a:t>. https://www.tradingview.com/symbols/SPX/ (accessed Nov 13, 2022).</a:t>
            </a:r>
            <a:r>
              <a:rPr lang="en-AT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60381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E180BE-A566-6D6B-B3A9-3E35B62AD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T" dirty="0"/>
              <a:t>Problem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96237-DC7E-45EE-4A50-09C33DBDF9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2458725"/>
            <a:ext cx="5582004" cy="3313426"/>
          </a:xfrm>
        </p:spPr>
        <p:txBody>
          <a:bodyPr/>
          <a:lstStyle/>
          <a:p>
            <a:r>
              <a:rPr lang="en-AT" dirty="0"/>
              <a:t>Crypto-Tastemakers influence price action</a:t>
            </a:r>
          </a:p>
          <a:p>
            <a:r>
              <a:rPr lang="en-AT" dirty="0"/>
              <a:t>CEO’s, celebrities, politicians, sports players, …</a:t>
            </a:r>
          </a:p>
          <a:p>
            <a:r>
              <a:rPr lang="en-GB" dirty="0"/>
              <a:t>H</a:t>
            </a:r>
            <a:r>
              <a:rPr lang="en-AT" dirty="0"/>
              <a:t>eavily dependent on the tweet issuer</a:t>
            </a:r>
          </a:p>
          <a:p>
            <a:r>
              <a:rPr lang="en-GB" dirty="0"/>
              <a:t>C</a:t>
            </a:r>
            <a:r>
              <a:rPr lang="en-AT" dirty="0"/>
              <a:t>an become completely detached from macro-environment</a:t>
            </a:r>
          </a:p>
          <a:p>
            <a:r>
              <a:rPr lang="de-DE" dirty="0"/>
              <a:t>Can </a:t>
            </a:r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become</a:t>
            </a:r>
            <a:r>
              <a:rPr lang="de-DE" dirty="0"/>
              <a:t> </a:t>
            </a:r>
            <a:r>
              <a:rPr lang="de-DE" dirty="0" err="1"/>
              <a:t>easily</a:t>
            </a:r>
            <a:r>
              <a:rPr lang="de-DE" dirty="0"/>
              <a:t> </a:t>
            </a:r>
            <a:r>
              <a:rPr lang="de-DE" dirty="0" err="1"/>
              <a:t>manipulated</a:t>
            </a:r>
            <a:endParaRPr lang="en-A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4E61BE-EDB0-4EB3-734D-14D9DD008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1E60F-A66C-4849-B505-3F1AAD1C795A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414317-51E3-5A08-3E8F-BD1F227D5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BD9551-6425-28BA-5876-25185112B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509D886-8B4C-F9C7-3177-F05A2478DD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02011" y="2116182"/>
            <a:ext cx="5477576" cy="26395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9218E53-0862-B7BE-3D38-3C6E1754C69C}"/>
              </a:ext>
            </a:extLst>
          </p:cNvPr>
          <p:cNvSpPr txBox="1"/>
          <p:nvPr/>
        </p:nvSpPr>
        <p:spPr>
          <a:xfrm>
            <a:off x="7122942" y="4759911"/>
            <a:ext cx="50690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1600" dirty="0"/>
              <a:t>Google Search Trends for “Dogecoin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0F19F6-166B-6928-75E4-C121F8416D59}"/>
              </a:ext>
            </a:extLst>
          </p:cNvPr>
          <p:cNvSpPr txBox="1"/>
          <p:nvPr/>
        </p:nvSpPr>
        <p:spPr>
          <a:xfrm>
            <a:off x="407987" y="5835665"/>
            <a:ext cx="446308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https://</a:t>
            </a:r>
            <a:r>
              <a:rPr lang="en-GB" sz="1100" dirty="0" err="1"/>
              <a:t>trends.google.com</a:t>
            </a:r>
            <a:r>
              <a:rPr lang="en-GB" sz="1100" dirty="0"/>
              <a:t>/trends/</a:t>
            </a:r>
            <a:r>
              <a:rPr lang="en-GB" sz="1100" dirty="0" err="1"/>
              <a:t>explore?date</a:t>
            </a:r>
            <a:r>
              <a:rPr lang="en-GB" sz="1100" dirty="0"/>
              <a:t>=today%205-y&amp;q=dogecoin</a:t>
            </a:r>
            <a:endParaRPr lang="en-AT" sz="1100" dirty="0"/>
          </a:p>
        </p:txBody>
      </p:sp>
    </p:spTree>
    <p:extLst>
      <p:ext uri="{BB962C8B-B14F-4D97-AF65-F5344CB8AC3E}">
        <p14:creationId xmlns:p14="http://schemas.microsoft.com/office/powerpoint/2010/main" val="35490848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F70FA-A7E1-3318-0180-05D8A54DC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1332185"/>
            <a:ext cx="8532813" cy="836339"/>
          </a:xfrm>
        </p:spPr>
        <p:txBody>
          <a:bodyPr anchor="b">
            <a:normAutofit/>
          </a:bodyPr>
          <a:lstStyle/>
          <a:p>
            <a:r>
              <a:rPr lang="en-AT" dirty="0"/>
              <a:t>Goal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803915-F2F1-9FF3-52D3-85681FB4E1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7989" y="6422400"/>
            <a:ext cx="720000" cy="36512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851E60F-A66C-4849-B505-3F1AAD1C795A}" type="datetime1">
              <a:rPr lang="en-US" smtClean="0"/>
              <a:pPr>
                <a:spcAft>
                  <a:spcPts val="600"/>
                </a:spcAft>
              </a:pPr>
              <a:t>11/28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45EE12-F116-1E38-6146-6E75AACE0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9614" y="6422400"/>
            <a:ext cx="7801186" cy="36512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Kevin Miller - 01638797 | kevin.miller@univie.ac.at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44789D-FEC2-7C00-610F-0B765A9D4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6013" y="6422400"/>
            <a:ext cx="828000" cy="36512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Page </a:t>
            </a:r>
            <a:fld id="{05A5AE1F-4813-4D0A-B870-8FB3219A4125}" type="slidenum">
              <a:rPr lang="en-GB" smtClean="0"/>
              <a:pPr>
                <a:spcAft>
                  <a:spcPts val="600"/>
                </a:spcAft>
              </a:pPr>
              <a:t>6</a:t>
            </a:fld>
            <a:endParaRPr lang="en-GB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11F7AABC-C7C5-ABD6-75C5-6B81F86C545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4269745"/>
              </p:ext>
            </p:extLst>
          </p:nvPr>
        </p:nvGraphicFramePr>
        <p:xfrm>
          <a:off x="1071501" y="2153448"/>
          <a:ext cx="10048998" cy="34607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87D39E6-46CA-DDDC-B823-0CE38AAFBC37}"/>
              </a:ext>
            </a:extLst>
          </p:cNvPr>
          <p:cNvSpPr txBox="1"/>
          <p:nvPr/>
        </p:nvSpPr>
        <p:spPr>
          <a:xfrm>
            <a:off x="3938999" y="5260351"/>
            <a:ext cx="4405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</a:t>
            </a:r>
            <a:r>
              <a:rPr lang="en-AT" dirty="0"/>
              <a:t>ackled by applying design science research*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73694F-1294-9565-A01A-66C1CE820899}"/>
              </a:ext>
            </a:extLst>
          </p:cNvPr>
          <p:cNvSpPr txBox="1"/>
          <p:nvPr/>
        </p:nvSpPr>
        <p:spPr>
          <a:xfrm>
            <a:off x="407987" y="5923827"/>
            <a:ext cx="599555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A. R. </a:t>
            </a:r>
            <a:r>
              <a:rPr lang="en-GB" sz="1100" dirty="0" err="1"/>
              <a:t>Hevner</a:t>
            </a:r>
            <a:r>
              <a:rPr lang="en-GB" sz="1100" dirty="0"/>
              <a:t>, S. T. March, J. Park, and S. Ram, “Design Science in Information Systems Research,” p. 32.</a:t>
            </a:r>
            <a:r>
              <a:rPr lang="en-AT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7835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323566-3074-4C77-7921-AF5B85A46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earch Question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6173A8B-4AAD-E467-1F5D-A23640F3FD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2459462"/>
            <a:ext cx="11376026" cy="3672000"/>
          </a:xfrm>
        </p:spPr>
        <p:txBody>
          <a:bodyPr/>
          <a:lstStyle/>
          <a:p>
            <a:pPr marL="457200" lvl="0" indent="-457200">
              <a:buFont typeface="+mj-lt"/>
              <a:buAutoNum type="arabicPeriod"/>
              <a:tabLst>
                <a:tab pos="5033010" algn="r"/>
              </a:tabLst>
            </a:pPr>
            <a:r>
              <a:rPr lang="en-US" dirty="0"/>
              <a:t>What are current approaches and algorithms for price prediction that utilize data from microblogs and are there any areas that lack research?</a:t>
            </a:r>
            <a:endParaRPr lang="de-DE" dirty="0"/>
          </a:p>
          <a:p>
            <a:pPr marL="457200" lvl="0" indent="-457200">
              <a:buFont typeface="+mj-lt"/>
              <a:buAutoNum type="arabicPeriod"/>
              <a:tabLst>
                <a:tab pos="5033010" algn="r"/>
              </a:tabLst>
            </a:pPr>
            <a:r>
              <a:rPr lang="en-US" dirty="0"/>
              <a:t>How and to what extent do price predictions utilize sentiment analysis?</a:t>
            </a:r>
            <a:endParaRPr lang="de-DE" dirty="0"/>
          </a:p>
          <a:p>
            <a:pPr marL="457200" lvl="0" indent="-457200">
              <a:buFont typeface="+mj-lt"/>
              <a:buAutoNum type="arabicPeriod"/>
              <a:tabLst>
                <a:tab pos="5033010" algn="r"/>
              </a:tabLst>
            </a:pPr>
            <a:r>
              <a:rPr lang="en-US" dirty="0"/>
              <a:t>How is the data fetched, prepared and processed and how can it be presented?</a:t>
            </a:r>
            <a:endParaRPr lang="de-DE" dirty="0"/>
          </a:p>
          <a:p>
            <a:pPr marL="457200" lvl="0" indent="-457200">
              <a:buFont typeface="+mj-lt"/>
              <a:buAutoNum type="arabicPeriod"/>
              <a:tabLst>
                <a:tab pos="5033010" algn="r"/>
              </a:tabLst>
            </a:pPr>
            <a:r>
              <a:rPr lang="en-US" dirty="0"/>
              <a:t>Are the results meaningful, explainable and replicable?</a:t>
            </a:r>
            <a:endParaRPr lang="de-DE" dirty="0"/>
          </a:p>
          <a:p>
            <a:pPr marL="457200" lvl="0" indent="-457200">
              <a:buFont typeface="+mj-lt"/>
              <a:buAutoNum type="arabicPeriod"/>
              <a:tabLst>
                <a:tab pos="5033010" algn="r"/>
              </a:tabLst>
            </a:pPr>
            <a:r>
              <a:rPr lang="en-US" dirty="0"/>
              <a:t>Is it possible to create a meaningful metric for the classifying the potential influence of a given user over a given asset?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598A00-BF3E-00FE-7E84-451D877031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9E43D0-FCBE-A897-E1CF-1EBF63C85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CA615A-F5D9-036F-DAB2-E426F66C0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4939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BC5E1-3C38-2441-453C-8DEC6C610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T" dirty="0"/>
              <a:t>Systematic Literature Re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CA9DA2-9474-9077-02B6-DA0F1C93C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2532514"/>
            <a:ext cx="11376026" cy="3672000"/>
          </a:xfrm>
        </p:spPr>
        <p:txBody>
          <a:bodyPr/>
          <a:lstStyle/>
          <a:p>
            <a:r>
              <a:rPr lang="en-GB" dirty="0"/>
              <a:t>B</a:t>
            </a:r>
            <a:r>
              <a:rPr lang="en-AT" dirty="0"/>
              <a:t>ased on Barbara Kitchenham*</a:t>
            </a:r>
          </a:p>
          <a:p>
            <a:r>
              <a:rPr lang="en-AT" dirty="0"/>
              <a:t>Databases:</a:t>
            </a:r>
          </a:p>
          <a:p>
            <a:pPr lvl="1"/>
            <a:r>
              <a:rPr lang="en-AT" dirty="0"/>
              <a:t>Scopus</a:t>
            </a:r>
          </a:p>
          <a:p>
            <a:pPr lvl="1"/>
            <a:r>
              <a:rPr lang="en-AT" dirty="0"/>
              <a:t>Web of Science (WoS)</a:t>
            </a:r>
          </a:p>
          <a:p>
            <a:r>
              <a:rPr lang="en-AT" dirty="0"/>
              <a:t>Constraints:</a:t>
            </a:r>
          </a:p>
          <a:p>
            <a:pPr lvl="1"/>
            <a:r>
              <a:rPr lang="en-AT" dirty="0"/>
              <a:t>English</a:t>
            </a:r>
          </a:p>
          <a:p>
            <a:pPr lvl="1"/>
            <a:r>
              <a:rPr lang="en-AT" dirty="0"/>
              <a:t>Article/Conference Pap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898D60-17B6-8383-C631-4E11F1F2E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CA5772-CD18-1DDF-475A-23726803A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FDE696-53DB-9D59-B1C6-6415D3AA5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C27336-C3EB-8848-9B1E-01B72E11494E}"/>
              </a:ext>
            </a:extLst>
          </p:cNvPr>
          <p:cNvSpPr txBox="1"/>
          <p:nvPr/>
        </p:nvSpPr>
        <p:spPr>
          <a:xfrm>
            <a:off x="5997998" y="602221"/>
            <a:ext cx="57860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twitter ∧  (cryptocurrency ∨  stock ∨ asset ∨  price ∨  market cap* ∨  Bitcoin ∨  Ethereum ∨  BNB ∨  XRP ∨  Solana ∨ </a:t>
            </a:r>
            <a:r>
              <a:rPr lang="en-US" i="1" dirty="0" err="1"/>
              <a:t>Cardano</a:t>
            </a:r>
            <a:r>
              <a:rPr lang="en-US" i="1" dirty="0"/>
              <a:t> ∨  Terra ∨  Dogecoin ∨  </a:t>
            </a:r>
            <a:r>
              <a:rPr lang="en-US" i="1" dirty="0" err="1"/>
              <a:t>Polkadot</a:t>
            </a:r>
            <a:r>
              <a:rPr lang="en-US" i="1" dirty="0"/>
              <a:t> ∨  Avalanche)</a:t>
            </a:r>
            <a:endParaRPr lang="en-AT" dirty="0"/>
          </a:p>
          <a:p>
            <a:endParaRPr lang="en-AT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0E4EFEB-74DD-AB45-2FD0-FE3AA9C92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3701" y="1802550"/>
            <a:ext cx="4933211" cy="40328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EEBA41D-9F57-F409-D31A-29A385A63863}"/>
              </a:ext>
            </a:extLst>
          </p:cNvPr>
          <p:cNvSpPr txBox="1"/>
          <p:nvPr/>
        </p:nvSpPr>
        <p:spPr>
          <a:xfrm>
            <a:off x="407987" y="5921042"/>
            <a:ext cx="61013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“B. </a:t>
            </a:r>
            <a:r>
              <a:rPr lang="en-GB" sz="1100" dirty="0" err="1"/>
              <a:t>Kitchenham</a:t>
            </a:r>
            <a:r>
              <a:rPr lang="en-GB" sz="1100" dirty="0"/>
              <a:t>, “Procedures for Performing Systematic Reviews,” </a:t>
            </a:r>
            <a:r>
              <a:rPr lang="en-GB" sz="1100" i="1" dirty="0" err="1"/>
              <a:t>Keele</a:t>
            </a:r>
            <a:r>
              <a:rPr lang="en-GB" sz="1100" i="1" dirty="0"/>
              <a:t> UK </a:t>
            </a:r>
            <a:r>
              <a:rPr lang="en-GB" sz="1100" i="1" dirty="0" err="1"/>
              <a:t>Keele</a:t>
            </a:r>
            <a:r>
              <a:rPr lang="en-GB" sz="1100" i="1" dirty="0"/>
              <a:t> </a:t>
            </a:r>
            <a:r>
              <a:rPr lang="en-GB" sz="1100" i="1" dirty="0" err="1"/>
              <a:t>Univ</a:t>
            </a:r>
            <a:r>
              <a:rPr lang="en-GB" sz="1100" dirty="0"/>
              <a:t>, vol. 33, Aug. 2004.</a:t>
            </a:r>
            <a:endParaRPr lang="en-AT" sz="1100" dirty="0"/>
          </a:p>
        </p:txBody>
      </p:sp>
    </p:spTree>
    <p:extLst>
      <p:ext uri="{BB962C8B-B14F-4D97-AF65-F5344CB8AC3E}">
        <p14:creationId xmlns:p14="http://schemas.microsoft.com/office/powerpoint/2010/main" val="32596497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323566-3074-4C77-7921-AF5B85A46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earch Questions - </a:t>
            </a:r>
            <a:r>
              <a:rPr lang="de-DE" dirty="0" err="1"/>
              <a:t>Answered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6173A8B-4AAD-E467-1F5D-A23640F3FD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2459462"/>
            <a:ext cx="11376026" cy="3672000"/>
          </a:xfrm>
        </p:spPr>
        <p:txBody>
          <a:bodyPr>
            <a:normAutofit/>
          </a:bodyPr>
          <a:lstStyle/>
          <a:p>
            <a:pPr marL="457200" lvl="0" indent="-457200">
              <a:buFont typeface="+mj-lt"/>
              <a:buAutoNum type="arabicPeriod"/>
              <a:tabLst>
                <a:tab pos="5033010" algn="r"/>
              </a:tabLst>
            </a:pPr>
            <a:r>
              <a:rPr lang="en-US" dirty="0"/>
              <a:t>What are current approaches and algorithms for price prediction that utilize data from microblogs and are there any areas that lack research?</a:t>
            </a:r>
            <a:endParaRPr lang="de-DE" dirty="0"/>
          </a:p>
          <a:p>
            <a:pPr marL="457200" lvl="0" indent="-457200">
              <a:buFont typeface="+mj-lt"/>
              <a:buAutoNum type="arabicPeriod"/>
              <a:tabLst>
                <a:tab pos="5033010" algn="r"/>
              </a:tabLst>
            </a:pPr>
            <a:r>
              <a:rPr lang="en-US" dirty="0"/>
              <a:t>How and to what extent do price predictions utilize sentiment analysis?</a:t>
            </a:r>
            <a:endParaRPr lang="de-DE" dirty="0"/>
          </a:p>
          <a:p>
            <a:pPr marL="457200" lvl="0" indent="-457200">
              <a:buFont typeface="+mj-lt"/>
              <a:buAutoNum type="arabicPeriod"/>
              <a:tabLst>
                <a:tab pos="5033010" algn="r"/>
              </a:tabLst>
            </a:pPr>
            <a:r>
              <a:rPr lang="en-US" dirty="0"/>
              <a:t>How is the data fetched, prepared and processed and how can it be presented?</a:t>
            </a:r>
            <a:endParaRPr lang="de-DE" dirty="0"/>
          </a:p>
          <a:p>
            <a:pPr marL="457200" lvl="0" indent="-457200">
              <a:buFont typeface="+mj-lt"/>
              <a:buAutoNum type="arabicPeriod"/>
              <a:tabLst>
                <a:tab pos="5033010" algn="r"/>
              </a:tabLst>
            </a:pPr>
            <a:r>
              <a:rPr lang="en-US" dirty="0"/>
              <a:t>Are the results meaningful, explainable and replicable?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598A00-BF3E-00FE-7E84-451D877031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CA41A-EDB7-8145-BDBB-63DC81B01365}" type="datetime1">
              <a:rPr lang="en-US" smtClean="0"/>
              <a:t>11/28/2022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9E43D0-FCBE-A897-E1CF-1EBF63C85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vin Miller - 01638797 | kevin.miller@univie.ac.at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CA615A-F5D9-036F-DAB2-E426F66C0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05A5AE1F-4813-4D0A-B870-8FB3219A4125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6966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English UK"/>
  <p:tag name="EE4P_LANGUAGE_ID" val="1033"/>
  <p:tag name="LANG_DEF" val="2057"/>
  <p:tag name="LANG_NAME" val="English UK"/>
  <p:tag name="MASTCOUNT" val="1"/>
  <p:tag name="DES1LAYOUTCOUNT" val="17"/>
  <p:tag name="LINGO_COUNT" val="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Universität_Wien_klassisch_EN_SourceSansPro">
  <a:themeElements>
    <a:clrScheme name="Uni Wien">
      <a:dk1>
        <a:sysClr val="windowText" lastClr="000000"/>
      </a:dk1>
      <a:lt1>
        <a:sysClr val="window" lastClr="FFFFFF"/>
      </a:lt1>
      <a:dk2>
        <a:srgbClr val="666666"/>
      </a:dk2>
      <a:lt2>
        <a:srgbClr val="E0E0E0"/>
      </a:lt2>
      <a:accent1>
        <a:srgbClr val="0063A6"/>
      </a:accent1>
      <a:accent2>
        <a:srgbClr val="A71C49"/>
      </a:accent2>
      <a:accent3>
        <a:srgbClr val="DD4814"/>
      </a:accent3>
      <a:accent4>
        <a:srgbClr val="F6A800"/>
      </a:accent4>
      <a:accent5>
        <a:srgbClr val="94C154"/>
      </a:accent5>
      <a:accent6>
        <a:srgbClr val="11897A"/>
      </a:accent6>
      <a:hlink>
        <a:srgbClr val="0063A6"/>
      </a:hlink>
      <a:folHlink>
        <a:srgbClr val="0063A6"/>
      </a:folHlink>
    </a:clrScheme>
    <a:fontScheme name="Uni Wien Image">
      <a:majorFont>
        <a:latin typeface="Source Sans Pro Semibold"/>
        <a:ea typeface=""/>
        <a:cs typeface=""/>
      </a:majorFont>
      <a:minorFont>
        <a:latin typeface="Source Sans Pro Light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90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_traditional_SourceSansPro.potx" id="{19C81B8D-3FEC-46BB-A6B8-6DFB4D2485E7}" vid="{EBD1D516-2A94-464B-8855-39E221BEECC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Uni Wien Promotion">
      <a:majorFont>
        <a:latin typeface="Source Sans Pro Light"/>
        <a:ea typeface=""/>
        <a:cs typeface=""/>
      </a:majorFont>
      <a:minorFont>
        <a:latin typeface="Source Sans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Universität Wien Klassisch">
      <a:majorFont>
        <a:latin typeface="Source Sans Pro Semibold"/>
        <a:ea typeface=""/>
        <a:cs typeface=""/>
      </a:majorFont>
      <a:minorFont>
        <a:latin typeface="Source Sans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niversität_Wien_klassisch_EN_SourceSansPro</Template>
  <TotalTime>0</TotalTime>
  <Words>1495</Words>
  <Application>Microsoft Office PowerPoint</Application>
  <PresentationFormat>Breitbild</PresentationFormat>
  <Paragraphs>244</Paragraphs>
  <Slides>30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5" baseType="lpstr">
      <vt:lpstr>Arial</vt:lpstr>
      <vt:lpstr>Source Sans Pro</vt:lpstr>
      <vt:lpstr>Source Sans Pro Semibold</vt:lpstr>
      <vt:lpstr>Source Sans Pro Light</vt:lpstr>
      <vt:lpstr>Universität_Wien_klassisch_EN_SourceSansPro</vt:lpstr>
      <vt:lpstr>AIS – Asset Influence Score a Metric for assessing the Impact of an Influencer‘s Twitter Activity on the Price of a Cryptocurrency </vt:lpstr>
      <vt:lpstr>Agenda</vt:lpstr>
      <vt:lpstr>Background &amp; Introduction</vt:lpstr>
      <vt:lpstr>Dogecoin &amp; Elon Musk</vt:lpstr>
      <vt:lpstr>Problem Description</vt:lpstr>
      <vt:lpstr>Goals</vt:lpstr>
      <vt:lpstr>Research Questions</vt:lpstr>
      <vt:lpstr>Systematic Literature Review</vt:lpstr>
      <vt:lpstr>Research Questions - Answered</vt:lpstr>
      <vt:lpstr>PowerPoint-Präsentation</vt:lpstr>
      <vt:lpstr>The AIS – General Approach</vt:lpstr>
      <vt:lpstr>Enter Information</vt:lpstr>
      <vt:lpstr>Data Collection – Price data</vt:lpstr>
      <vt:lpstr>Data Collection - Tweets</vt:lpstr>
      <vt:lpstr>Data Transformation - Dataframes</vt:lpstr>
      <vt:lpstr>Prerequisites</vt:lpstr>
      <vt:lpstr>Example Dataset</vt:lpstr>
      <vt:lpstr>Calculating the AIS</vt:lpstr>
      <vt:lpstr>Evaluation</vt:lpstr>
      <vt:lpstr>Trading Algorithm</vt:lpstr>
      <vt:lpstr>Optimizing Parameters – Sliding Window Size</vt:lpstr>
      <vt:lpstr>Optimizing Parameters – Minimum Number of Tweets</vt:lpstr>
      <vt:lpstr>Optimizing Parameters – Breakout Threshold Factor</vt:lpstr>
      <vt:lpstr>Results for timeframe: Jan 5 – Dec 31, 2021</vt:lpstr>
      <vt:lpstr>Evaluation of the AIS on a longer timeframe - Dogecoin</vt:lpstr>
      <vt:lpstr>Evaluation of the AIS on a longer timeframe - Bitcoin</vt:lpstr>
      <vt:lpstr>The Client Application - Showcase</vt:lpstr>
      <vt:lpstr>Conclusion</vt:lpstr>
      <vt:lpstr>Future Work</vt:lpstr>
      <vt:lpstr>Questions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S - a Metric for assessing the Impact of an Influencer‘s Twitter Activity on the Price of a Cryptocurrency </dc:title>
  <dc:creator>StudentIn</dc:creator>
  <cp:lastModifiedBy>StudentIn</cp:lastModifiedBy>
  <cp:revision>86</cp:revision>
  <dcterms:created xsi:type="dcterms:W3CDTF">2022-06-05T14:47:19Z</dcterms:created>
  <dcterms:modified xsi:type="dcterms:W3CDTF">2022-11-28T09:2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CA3E3F14FFFC4D9BBC83BF90608206</vt:lpwstr>
  </property>
  <property fmtid="{D5CDD505-2E9C-101B-9397-08002B2CF9AE}" pid="3" name="_dlc_DocIdItemGuid">
    <vt:lpwstr>c1eb38b1-d223-4300-8e6d-d26214b864ae</vt:lpwstr>
  </property>
</Properties>
</file>